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5.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6.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7.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9.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20.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1.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22.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23.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24.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25.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6.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27.xml" ContentType="application/vnd.openxmlformats-officedocument.presentationml.notesSlide+xml"/>
  <Override PartName="/ppt/tags/tag152.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3"/>
  </p:notesMasterIdLst>
  <p:sldIdLst>
    <p:sldId id="256" r:id="rId5"/>
    <p:sldId id="406" r:id="rId6"/>
    <p:sldId id="267" r:id="rId7"/>
    <p:sldId id="362" r:id="rId8"/>
    <p:sldId id="357" r:id="rId9"/>
    <p:sldId id="272" r:id="rId10"/>
    <p:sldId id="386" r:id="rId11"/>
    <p:sldId id="269" r:id="rId12"/>
    <p:sldId id="387" r:id="rId13"/>
    <p:sldId id="317" r:id="rId14"/>
    <p:sldId id="388" r:id="rId15"/>
    <p:sldId id="389" r:id="rId16"/>
    <p:sldId id="390" r:id="rId17"/>
    <p:sldId id="391" r:id="rId18"/>
    <p:sldId id="392" r:id="rId19"/>
    <p:sldId id="393" r:id="rId20"/>
    <p:sldId id="394" r:id="rId21"/>
    <p:sldId id="395" r:id="rId22"/>
    <p:sldId id="396" r:id="rId23"/>
    <p:sldId id="397" r:id="rId24"/>
    <p:sldId id="398" r:id="rId25"/>
    <p:sldId id="399" r:id="rId26"/>
    <p:sldId id="400" r:id="rId27"/>
    <p:sldId id="401" r:id="rId28"/>
    <p:sldId id="402" r:id="rId29"/>
    <p:sldId id="403" r:id="rId30"/>
    <p:sldId id="404" r:id="rId31"/>
    <p:sldId id="407" r:id="rId32"/>
  </p:sldIdLst>
  <p:sldSz cx="9906000" cy="6858000" type="A4"/>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780" userDrawn="1">
          <p15:clr>
            <a:srgbClr val="A4A3A4"/>
          </p15:clr>
        </p15:guide>
        <p15:guide id="2" pos="3369" userDrawn="1">
          <p15:clr>
            <a:srgbClr val="A4A3A4"/>
          </p15:clr>
        </p15:guide>
        <p15:guide id="3" orient="horz" pos="3838" userDrawn="1">
          <p15:clr>
            <a:srgbClr val="A4A3A4"/>
          </p15:clr>
        </p15:guide>
        <p15:guide id="4" orient="horz" pos="4292" userDrawn="1">
          <p15:clr>
            <a:srgbClr val="A4A3A4"/>
          </p15:clr>
        </p15:guide>
        <p15:guide id="5" pos="4118" userDrawn="1">
          <p15:clr>
            <a:srgbClr val="A4A3A4"/>
          </p15:clr>
        </p15:guide>
        <p15:guide id="6" orient="horz" pos="1843" userDrawn="1">
          <p15:clr>
            <a:srgbClr val="A4A3A4"/>
          </p15:clr>
        </p15:guide>
        <p15:guide id="7" orient="horz" pos="1146" userDrawn="1">
          <p15:clr>
            <a:srgbClr val="A4A3A4"/>
          </p15:clr>
        </p15:guide>
        <p15:guide id="8" pos="493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678"/>
    <a:srgbClr val="D9D9D9"/>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p:scale>
          <a:sx n="100" d="100"/>
          <a:sy n="100" d="100"/>
        </p:scale>
        <p:origin x="366" y="-1110"/>
      </p:cViewPr>
      <p:guideLst>
        <p:guide pos="1780"/>
        <p:guide pos="3369"/>
        <p:guide orient="horz" pos="3838"/>
        <p:guide orient="horz" pos="4292"/>
        <p:guide pos="4118"/>
        <p:guide orient="horz" pos="1843"/>
        <p:guide orient="horz" pos="1146"/>
        <p:guide pos="4934"/>
      </p:guideLst>
    </p:cSldViewPr>
  </p:slideViewPr>
  <p:outlineViewPr>
    <p:cViewPr>
      <p:scale>
        <a:sx n="33" d="100"/>
        <a:sy n="33" d="100"/>
      </p:scale>
      <p:origin x="0" y="-40752"/>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a:p>
        </p:txBody>
      </p:sp>
    </p:spTree>
    <p:extLst>
      <p:ext uri="{BB962C8B-B14F-4D97-AF65-F5344CB8AC3E}">
        <p14:creationId xmlns:p14="http://schemas.microsoft.com/office/powerpoint/2010/main" val="2914432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a:p>
        </p:txBody>
      </p:sp>
    </p:spTree>
    <p:extLst>
      <p:ext uri="{BB962C8B-B14F-4D97-AF65-F5344CB8AC3E}">
        <p14:creationId xmlns:p14="http://schemas.microsoft.com/office/powerpoint/2010/main" val="22984832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a:p>
        </p:txBody>
      </p:sp>
    </p:spTree>
    <p:extLst>
      <p:ext uri="{BB962C8B-B14F-4D97-AF65-F5344CB8AC3E}">
        <p14:creationId xmlns:p14="http://schemas.microsoft.com/office/powerpoint/2010/main" val="1763880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a:p>
        </p:txBody>
      </p:sp>
    </p:spTree>
    <p:extLst>
      <p:ext uri="{BB962C8B-B14F-4D97-AF65-F5344CB8AC3E}">
        <p14:creationId xmlns:p14="http://schemas.microsoft.com/office/powerpoint/2010/main" val="11000457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4</a:t>
            </a:fld>
            <a:endParaRPr lang="en-US"/>
          </a:p>
        </p:txBody>
      </p:sp>
    </p:spTree>
    <p:extLst>
      <p:ext uri="{BB962C8B-B14F-4D97-AF65-F5344CB8AC3E}">
        <p14:creationId xmlns:p14="http://schemas.microsoft.com/office/powerpoint/2010/main" val="23589872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5</a:t>
            </a:fld>
            <a:endParaRPr lang="en-US"/>
          </a:p>
        </p:txBody>
      </p:sp>
    </p:spTree>
    <p:extLst>
      <p:ext uri="{BB962C8B-B14F-4D97-AF65-F5344CB8AC3E}">
        <p14:creationId xmlns:p14="http://schemas.microsoft.com/office/powerpoint/2010/main" val="34091399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6</a:t>
            </a:fld>
            <a:endParaRPr lang="en-US"/>
          </a:p>
        </p:txBody>
      </p:sp>
    </p:spTree>
    <p:extLst>
      <p:ext uri="{BB962C8B-B14F-4D97-AF65-F5344CB8AC3E}">
        <p14:creationId xmlns:p14="http://schemas.microsoft.com/office/powerpoint/2010/main" val="37950138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7</a:t>
            </a:fld>
            <a:endParaRPr lang="en-US"/>
          </a:p>
        </p:txBody>
      </p:sp>
    </p:spTree>
    <p:extLst>
      <p:ext uri="{BB962C8B-B14F-4D97-AF65-F5344CB8AC3E}">
        <p14:creationId xmlns:p14="http://schemas.microsoft.com/office/powerpoint/2010/main" val="7908646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8</a:t>
            </a:fld>
            <a:endParaRPr lang="en-US"/>
          </a:p>
        </p:txBody>
      </p:sp>
    </p:spTree>
    <p:extLst>
      <p:ext uri="{BB962C8B-B14F-4D97-AF65-F5344CB8AC3E}">
        <p14:creationId xmlns:p14="http://schemas.microsoft.com/office/powerpoint/2010/main" val="40805218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9</a:t>
            </a:fld>
            <a:endParaRPr lang="en-US"/>
          </a:p>
        </p:txBody>
      </p:sp>
    </p:spTree>
    <p:extLst>
      <p:ext uri="{BB962C8B-B14F-4D97-AF65-F5344CB8AC3E}">
        <p14:creationId xmlns:p14="http://schemas.microsoft.com/office/powerpoint/2010/main" val="2728080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19811350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0</a:t>
            </a:fld>
            <a:endParaRPr lang="en-US"/>
          </a:p>
        </p:txBody>
      </p:sp>
    </p:spTree>
    <p:extLst>
      <p:ext uri="{BB962C8B-B14F-4D97-AF65-F5344CB8AC3E}">
        <p14:creationId xmlns:p14="http://schemas.microsoft.com/office/powerpoint/2010/main" val="14472067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1</a:t>
            </a:fld>
            <a:endParaRPr lang="en-US"/>
          </a:p>
        </p:txBody>
      </p:sp>
    </p:spTree>
    <p:extLst>
      <p:ext uri="{BB962C8B-B14F-4D97-AF65-F5344CB8AC3E}">
        <p14:creationId xmlns:p14="http://schemas.microsoft.com/office/powerpoint/2010/main" val="4222246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2</a:t>
            </a:fld>
            <a:endParaRPr lang="en-US"/>
          </a:p>
        </p:txBody>
      </p:sp>
    </p:spTree>
    <p:extLst>
      <p:ext uri="{BB962C8B-B14F-4D97-AF65-F5344CB8AC3E}">
        <p14:creationId xmlns:p14="http://schemas.microsoft.com/office/powerpoint/2010/main" val="41699962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3</a:t>
            </a:fld>
            <a:endParaRPr lang="en-US"/>
          </a:p>
        </p:txBody>
      </p:sp>
    </p:spTree>
    <p:extLst>
      <p:ext uri="{BB962C8B-B14F-4D97-AF65-F5344CB8AC3E}">
        <p14:creationId xmlns:p14="http://schemas.microsoft.com/office/powerpoint/2010/main" val="18779544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4</a:t>
            </a:fld>
            <a:endParaRPr lang="en-US"/>
          </a:p>
        </p:txBody>
      </p:sp>
    </p:spTree>
    <p:extLst>
      <p:ext uri="{BB962C8B-B14F-4D97-AF65-F5344CB8AC3E}">
        <p14:creationId xmlns:p14="http://schemas.microsoft.com/office/powerpoint/2010/main" val="17417330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5</a:t>
            </a:fld>
            <a:endParaRPr lang="en-US"/>
          </a:p>
        </p:txBody>
      </p:sp>
    </p:spTree>
    <p:extLst>
      <p:ext uri="{BB962C8B-B14F-4D97-AF65-F5344CB8AC3E}">
        <p14:creationId xmlns:p14="http://schemas.microsoft.com/office/powerpoint/2010/main" val="1256181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6</a:t>
            </a:fld>
            <a:endParaRPr lang="en-US"/>
          </a:p>
        </p:txBody>
      </p:sp>
    </p:spTree>
    <p:extLst>
      <p:ext uri="{BB962C8B-B14F-4D97-AF65-F5344CB8AC3E}">
        <p14:creationId xmlns:p14="http://schemas.microsoft.com/office/powerpoint/2010/main" val="18393797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7</a:t>
            </a:fld>
            <a:endParaRPr lang="en-US"/>
          </a:p>
        </p:txBody>
      </p:sp>
    </p:spTree>
    <p:extLst>
      <p:ext uri="{BB962C8B-B14F-4D97-AF65-F5344CB8AC3E}">
        <p14:creationId xmlns:p14="http://schemas.microsoft.com/office/powerpoint/2010/main" val="22287068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8</a:t>
            </a:fld>
            <a:endParaRPr lang="en-US"/>
          </a:p>
        </p:txBody>
      </p:sp>
    </p:spTree>
    <p:extLst>
      <p:ext uri="{BB962C8B-B14F-4D97-AF65-F5344CB8AC3E}">
        <p14:creationId xmlns:p14="http://schemas.microsoft.com/office/powerpoint/2010/main" val="14108678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a:p>
        </p:txBody>
      </p:sp>
    </p:spTree>
    <p:extLst>
      <p:ext uri="{BB962C8B-B14F-4D97-AF65-F5344CB8AC3E}">
        <p14:creationId xmlns:p14="http://schemas.microsoft.com/office/powerpoint/2010/main" val="4166853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a:p>
        </p:txBody>
      </p:sp>
    </p:spTree>
    <p:extLst>
      <p:ext uri="{BB962C8B-B14F-4D97-AF65-F5344CB8AC3E}">
        <p14:creationId xmlns:p14="http://schemas.microsoft.com/office/powerpoint/2010/main" val="3591830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a:p>
        </p:txBody>
      </p:sp>
    </p:spTree>
    <p:extLst>
      <p:ext uri="{BB962C8B-B14F-4D97-AF65-F5344CB8AC3E}">
        <p14:creationId xmlns:p14="http://schemas.microsoft.com/office/powerpoint/2010/main" val="326463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a:p>
        </p:txBody>
      </p:sp>
    </p:spTree>
    <p:extLst>
      <p:ext uri="{BB962C8B-B14F-4D97-AF65-F5344CB8AC3E}">
        <p14:creationId xmlns:p14="http://schemas.microsoft.com/office/powerpoint/2010/main" val="2871174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a:p>
        </p:txBody>
      </p:sp>
    </p:spTree>
    <p:extLst>
      <p:ext uri="{BB962C8B-B14F-4D97-AF65-F5344CB8AC3E}">
        <p14:creationId xmlns:p14="http://schemas.microsoft.com/office/powerpoint/2010/main" val="1350446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a:p>
        </p:txBody>
      </p:sp>
    </p:spTree>
    <p:extLst>
      <p:ext uri="{BB962C8B-B14F-4D97-AF65-F5344CB8AC3E}">
        <p14:creationId xmlns:p14="http://schemas.microsoft.com/office/powerpoint/2010/main" val="29812322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smtClean="0"/>
              <a:t>Bild durch Klicken auf Symbol hinzufügen</a:t>
            </a:r>
            <a:endParaRPr lang="en-GB"/>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smtClean="0"/>
              <a:t>Bild durch Klicken auf Symbol hinzufügen</a:t>
            </a:r>
            <a:endParaRPr lang="en-GB"/>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38294659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2"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5.wmf"/><Relationship Id="rId5" Type="http://schemas.openxmlformats.org/officeDocument/2006/relationships/package" Target="../embeddings/Microsoft_Excel-Arbeitsblatt1.xlsx"/><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12.png"/><Relationship Id="rId18" Type="http://schemas.openxmlformats.org/officeDocument/2006/relationships/image" Target="../media/image17.png"/><Relationship Id="rId3" Type="http://schemas.openxmlformats.org/officeDocument/2006/relationships/tags" Target="../tags/tag13.xml"/><Relationship Id="rId21" Type="http://schemas.openxmlformats.org/officeDocument/2006/relationships/image" Target="../media/image20.png"/><Relationship Id="rId7" Type="http://schemas.openxmlformats.org/officeDocument/2006/relationships/tags" Target="../tags/tag17.xml"/><Relationship Id="rId12" Type="http://schemas.openxmlformats.org/officeDocument/2006/relationships/image" Target="../media/image11.png"/><Relationship Id="rId17" Type="http://schemas.openxmlformats.org/officeDocument/2006/relationships/image" Target="../media/image16.png"/><Relationship Id="rId25" Type="http://schemas.openxmlformats.org/officeDocument/2006/relationships/image" Target="../media/image5.wmf"/><Relationship Id="rId2" Type="http://schemas.openxmlformats.org/officeDocument/2006/relationships/tags" Target="../tags/tag12.xml"/><Relationship Id="rId16" Type="http://schemas.openxmlformats.org/officeDocument/2006/relationships/image" Target="../media/image15.png"/><Relationship Id="rId20" Type="http://schemas.openxmlformats.org/officeDocument/2006/relationships/image" Target="../media/image19.emf"/><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image" Target="../media/image10.png"/><Relationship Id="rId24" Type="http://schemas.openxmlformats.org/officeDocument/2006/relationships/package" Target="../embeddings/Microsoft_Excel-Arbeitsblatt3.xlsx"/><Relationship Id="rId5" Type="http://schemas.openxmlformats.org/officeDocument/2006/relationships/tags" Target="../tags/tag15.xml"/><Relationship Id="rId15" Type="http://schemas.openxmlformats.org/officeDocument/2006/relationships/image" Target="../media/image14.png"/><Relationship Id="rId23" Type="http://schemas.openxmlformats.org/officeDocument/2006/relationships/oleObject" Target="../embeddings/oleObject3.bin"/><Relationship Id="rId10" Type="http://schemas.openxmlformats.org/officeDocument/2006/relationships/notesSlide" Target="../notesSlides/notesSlide10.xml"/><Relationship Id="rId19" Type="http://schemas.openxmlformats.org/officeDocument/2006/relationships/image" Target="../media/image18.emf"/><Relationship Id="rId4" Type="http://schemas.openxmlformats.org/officeDocument/2006/relationships/tags" Target="../tags/tag14.xml"/><Relationship Id="rId9" Type="http://schemas.openxmlformats.org/officeDocument/2006/relationships/slideLayout" Target="../slideLayouts/slideLayout11.xml"/><Relationship Id="rId14" Type="http://schemas.openxmlformats.org/officeDocument/2006/relationships/image" Target="../media/image13.png"/><Relationship Id="rId22" Type="http://schemas.openxmlformats.org/officeDocument/2006/relationships/image" Target="../media/image21.png"/></Relationships>
</file>

<file path=ppt/slides/_rels/slide11.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2.png"/><Relationship Id="rId18" Type="http://schemas.openxmlformats.org/officeDocument/2006/relationships/image" Target="../media/image17.png"/><Relationship Id="rId3" Type="http://schemas.openxmlformats.org/officeDocument/2006/relationships/tags" Target="../tags/tag21.xml"/><Relationship Id="rId21" Type="http://schemas.openxmlformats.org/officeDocument/2006/relationships/image" Target="../media/image24.png"/><Relationship Id="rId7" Type="http://schemas.openxmlformats.org/officeDocument/2006/relationships/tags" Target="../tags/tag25.xml"/><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tags" Target="../tags/tag20.xml"/><Relationship Id="rId16" Type="http://schemas.openxmlformats.org/officeDocument/2006/relationships/image" Target="../media/image15.png"/><Relationship Id="rId20" Type="http://schemas.openxmlformats.org/officeDocument/2006/relationships/image" Target="../media/image23.pn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image" Target="../media/image10.png"/><Relationship Id="rId5" Type="http://schemas.openxmlformats.org/officeDocument/2006/relationships/tags" Target="../tags/tag23.xml"/><Relationship Id="rId15" Type="http://schemas.openxmlformats.org/officeDocument/2006/relationships/image" Target="../media/image14.png"/><Relationship Id="rId10" Type="http://schemas.openxmlformats.org/officeDocument/2006/relationships/notesSlide" Target="../notesSlides/notesSlide11.xml"/><Relationship Id="rId19" Type="http://schemas.openxmlformats.org/officeDocument/2006/relationships/image" Target="../media/image22.emf"/><Relationship Id="rId4" Type="http://schemas.openxmlformats.org/officeDocument/2006/relationships/tags" Target="../tags/tag22.xml"/><Relationship Id="rId9" Type="http://schemas.openxmlformats.org/officeDocument/2006/relationships/slideLayout" Target="../slideLayouts/slideLayout11.xml"/><Relationship Id="rId14" Type="http://schemas.openxmlformats.org/officeDocument/2006/relationships/image" Target="../media/image13.png"/><Relationship Id="rId22" Type="http://schemas.openxmlformats.org/officeDocument/2006/relationships/image" Target="../media/image25.emf"/></Relationships>
</file>

<file path=ppt/slides/_rels/slide12.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10.png"/><Relationship Id="rId18" Type="http://schemas.openxmlformats.org/officeDocument/2006/relationships/image" Target="../media/image15.png"/><Relationship Id="rId3" Type="http://schemas.openxmlformats.org/officeDocument/2006/relationships/tags" Target="../tags/tag29.xml"/><Relationship Id="rId21" Type="http://schemas.openxmlformats.org/officeDocument/2006/relationships/image" Target="../media/image26.emf"/><Relationship Id="rId7" Type="http://schemas.openxmlformats.org/officeDocument/2006/relationships/tags" Target="../tags/tag33.xml"/><Relationship Id="rId12" Type="http://schemas.openxmlformats.org/officeDocument/2006/relationships/notesSlide" Target="../notesSlides/notesSlide12.xml"/><Relationship Id="rId17" Type="http://schemas.openxmlformats.org/officeDocument/2006/relationships/image" Target="../media/image14.png"/><Relationship Id="rId2" Type="http://schemas.openxmlformats.org/officeDocument/2006/relationships/tags" Target="../tags/tag28.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slideLayout" Target="../slideLayouts/slideLayout11.xml"/><Relationship Id="rId24" Type="http://schemas.openxmlformats.org/officeDocument/2006/relationships/image" Target="../media/image29.png"/><Relationship Id="rId5" Type="http://schemas.openxmlformats.org/officeDocument/2006/relationships/tags" Target="../tags/tag31.xml"/><Relationship Id="rId15" Type="http://schemas.openxmlformats.org/officeDocument/2006/relationships/image" Target="../media/image12.png"/><Relationship Id="rId23" Type="http://schemas.openxmlformats.org/officeDocument/2006/relationships/image" Target="../media/image28.png"/><Relationship Id="rId10" Type="http://schemas.openxmlformats.org/officeDocument/2006/relationships/tags" Target="../tags/tag36.xml"/><Relationship Id="rId19" Type="http://schemas.openxmlformats.org/officeDocument/2006/relationships/image" Target="../media/image16.png"/><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image" Target="../media/image11.png"/><Relationship Id="rId22" Type="http://schemas.openxmlformats.org/officeDocument/2006/relationships/image" Target="../media/image27.emf"/></Relationships>
</file>

<file path=ppt/slides/_rels/slide1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image" Target="../media/image10.png"/><Relationship Id="rId18" Type="http://schemas.openxmlformats.org/officeDocument/2006/relationships/image" Target="../media/image15.png"/><Relationship Id="rId3" Type="http://schemas.openxmlformats.org/officeDocument/2006/relationships/tags" Target="../tags/tag39.xml"/><Relationship Id="rId21" Type="http://schemas.openxmlformats.org/officeDocument/2006/relationships/image" Target="../media/image30.emf"/><Relationship Id="rId7" Type="http://schemas.openxmlformats.org/officeDocument/2006/relationships/tags" Target="../tags/tag43.xml"/><Relationship Id="rId12" Type="http://schemas.openxmlformats.org/officeDocument/2006/relationships/notesSlide" Target="../notesSlides/notesSlide13.xml"/><Relationship Id="rId17" Type="http://schemas.openxmlformats.org/officeDocument/2006/relationships/image" Target="../media/image14.png"/><Relationship Id="rId2" Type="http://schemas.openxmlformats.org/officeDocument/2006/relationships/tags" Target="../tags/tag38.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slideLayout" Target="../slideLayouts/slideLayout11.xml"/><Relationship Id="rId24" Type="http://schemas.openxmlformats.org/officeDocument/2006/relationships/image" Target="../media/image33.emf"/><Relationship Id="rId5" Type="http://schemas.openxmlformats.org/officeDocument/2006/relationships/tags" Target="../tags/tag41.xml"/><Relationship Id="rId15" Type="http://schemas.openxmlformats.org/officeDocument/2006/relationships/image" Target="../media/image12.png"/><Relationship Id="rId23" Type="http://schemas.openxmlformats.org/officeDocument/2006/relationships/image" Target="../media/image32.png"/><Relationship Id="rId10" Type="http://schemas.openxmlformats.org/officeDocument/2006/relationships/tags" Target="../tags/tag46.xml"/><Relationship Id="rId19" Type="http://schemas.openxmlformats.org/officeDocument/2006/relationships/image" Target="../media/image16.png"/><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image" Target="../media/image11.png"/><Relationship Id="rId22"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image" Target="../media/image10.png"/><Relationship Id="rId18" Type="http://schemas.openxmlformats.org/officeDocument/2006/relationships/image" Target="../media/image15.png"/><Relationship Id="rId3" Type="http://schemas.openxmlformats.org/officeDocument/2006/relationships/tags" Target="../tags/tag49.xml"/><Relationship Id="rId21" Type="http://schemas.openxmlformats.org/officeDocument/2006/relationships/image" Target="../media/image34.emf"/><Relationship Id="rId7" Type="http://schemas.openxmlformats.org/officeDocument/2006/relationships/tags" Target="../tags/tag53.xml"/><Relationship Id="rId12" Type="http://schemas.openxmlformats.org/officeDocument/2006/relationships/notesSlide" Target="../notesSlides/notesSlide14.xml"/><Relationship Id="rId17" Type="http://schemas.openxmlformats.org/officeDocument/2006/relationships/image" Target="../media/image14.png"/><Relationship Id="rId2" Type="http://schemas.openxmlformats.org/officeDocument/2006/relationships/tags" Target="../tags/tag48.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slideLayout" Target="../slideLayouts/slideLayout11.xml"/><Relationship Id="rId24" Type="http://schemas.openxmlformats.org/officeDocument/2006/relationships/image" Target="../media/image37.png"/><Relationship Id="rId5" Type="http://schemas.openxmlformats.org/officeDocument/2006/relationships/tags" Target="../tags/tag51.xml"/><Relationship Id="rId15" Type="http://schemas.openxmlformats.org/officeDocument/2006/relationships/image" Target="../media/image12.png"/><Relationship Id="rId23" Type="http://schemas.openxmlformats.org/officeDocument/2006/relationships/image" Target="../media/image36.png"/><Relationship Id="rId10" Type="http://schemas.openxmlformats.org/officeDocument/2006/relationships/tags" Target="../tags/tag56.xml"/><Relationship Id="rId19" Type="http://schemas.openxmlformats.org/officeDocument/2006/relationships/image" Target="../media/image16.png"/><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image" Target="../media/image11.png"/><Relationship Id="rId22" Type="http://schemas.openxmlformats.org/officeDocument/2006/relationships/image" Target="../media/image35.emf"/></Relationships>
</file>

<file path=ppt/slides/_rels/slide15.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image" Target="../media/image10.png"/><Relationship Id="rId18" Type="http://schemas.openxmlformats.org/officeDocument/2006/relationships/image" Target="../media/image15.png"/><Relationship Id="rId3" Type="http://schemas.openxmlformats.org/officeDocument/2006/relationships/tags" Target="../tags/tag59.xml"/><Relationship Id="rId21" Type="http://schemas.openxmlformats.org/officeDocument/2006/relationships/image" Target="../media/image38.emf"/><Relationship Id="rId7" Type="http://schemas.openxmlformats.org/officeDocument/2006/relationships/tags" Target="../tags/tag63.xml"/><Relationship Id="rId12" Type="http://schemas.openxmlformats.org/officeDocument/2006/relationships/notesSlide" Target="../notesSlides/notesSlide15.xml"/><Relationship Id="rId17" Type="http://schemas.openxmlformats.org/officeDocument/2006/relationships/image" Target="../media/image14.png"/><Relationship Id="rId2" Type="http://schemas.openxmlformats.org/officeDocument/2006/relationships/tags" Target="../tags/tag58.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slideLayout" Target="../slideLayouts/slideLayout11.xml"/><Relationship Id="rId24" Type="http://schemas.openxmlformats.org/officeDocument/2006/relationships/image" Target="../media/image41.png"/><Relationship Id="rId5" Type="http://schemas.openxmlformats.org/officeDocument/2006/relationships/tags" Target="../tags/tag61.xml"/><Relationship Id="rId15" Type="http://schemas.openxmlformats.org/officeDocument/2006/relationships/image" Target="../media/image12.png"/><Relationship Id="rId23" Type="http://schemas.openxmlformats.org/officeDocument/2006/relationships/image" Target="../media/image40.png"/><Relationship Id="rId10" Type="http://schemas.openxmlformats.org/officeDocument/2006/relationships/tags" Target="../tags/tag66.xml"/><Relationship Id="rId19" Type="http://schemas.openxmlformats.org/officeDocument/2006/relationships/image" Target="../media/image16.png"/><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image" Target="../media/image11.png"/><Relationship Id="rId22" Type="http://schemas.openxmlformats.org/officeDocument/2006/relationships/image" Target="../media/image39.emf"/></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3.png"/><Relationship Id="rId18" Type="http://schemas.openxmlformats.org/officeDocument/2006/relationships/image" Target="../media/image42.emf"/><Relationship Id="rId3" Type="http://schemas.openxmlformats.org/officeDocument/2006/relationships/tags" Target="../tags/tag69.xml"/><Relationship Id="rId21" Type="http://schemas.openxmlformats.org/officeDocument/2006/relationships/image" Target="../media/image45.png"/><Relationship Id="rId7" Type="http://schemas.openxmlformats.org/officeDocument/2006/relationships/tags" Target="../tags/tag73.xml"/><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tags" Target="../tags/tag68.xml"/><Relationship Id="rId16" Type="http://schemas.openxmlformats.org/officeDocument/2006/relationships/image" Target="../media/image16.png"/><Relationship Id="rId20" Type="http://schemas.openxmlformats.org/officeDocument/2006/relationships/image" Target="../media/image44.png"/><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11.png"/><Relationship Id="rId5" Type="http://schemas.openxmlformats.org/officeDocument/2006/relationships/tags" Target="../tags/tag71.xml"/><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43.emf"/><Relationship Id="rId4" Type="http://schemas.openxmlformats.org/officeDocument/2006/relationships/tags" Target="../tags/tag70.xml"/><Relationship Id="rId9" Type="http://schemas.openxmlformats.org/officeDocument/2006/relationships/notesSlide" Target="../notesSlides/notesSlide16.xml"/><Relationship Id="rId14" Type="http://schemas.openxmlformats.org/officeDocument/2006/relationships/image" Target="../media/image14.png"/></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3.png"/><Relationship Id="rId18" Type="http://schemas.openxmlformats.org/officeDocument/2006/relationships/image" Target="../media/image46.emf"/><Relationship Id="rId3" Type="http://schemas.openxmlformats.org/officeDocument/2006/relationships/tags" Target="../tags/tag76.xml"/><Relationship Id="rId21" Type="http://schemas.openxmlformats.org/officeDocument/2006/relationships/image" Target="../media/image49.png"/><Relationship Id="rId7" Type="http://schemas.openxmlformats.org/officeDocument/2006/relationships/tags" Target="../tags/tag80.xml"/><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tags" Target="../tags/tag75.xml"/><Relationship Id="rId16" Type="http://schemas.openxmlformats.org/officeDocument/2006/relationships/image" Target="../media/image16.png"/><Relationship Id="rId20" Type="http://schemas.openxmlformats.org/officeDocument/2006/relationships/image" Target="../media/image48.png"/><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11.png"/><Relationship Id="rId5" Type="http://schemas.openxmlformats.org/officeDocument/2006/relationships/tags" Target="../tags/tag78.xml"/><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47.emf"/><Relationship Id="rId4" Type="http://schemas.openxmlformats.org/officeDocument/2006/relationships/tags" Target="../tags/tag77.xml"/><Relationship Id="rId9" Type="http://schemas.openxmlformats.org/officeDocument/2006/relationships/notesSlide" Target="../notesSlides/notesSlide17.xml"/><Relationship Id="rId14" Type="http://schemas.openxmlformats.org/officeDocument/2006/relationships/image" Target="../media/image14.png"/></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3.png"/><Relationship Id="rId18" Type="http://schemas.openxmlformats.org/officeDocument/2006/relationships/image" Target="../media/image50.emf"/><Relationship Id="rId3" Type="http://schemas.openxmlformats.org/officeDocument/2006/relationships/tags" Target="../tags/tag83.xml"/><Relationship Id="rId21" Type="http://schemas.openxmlformats.org/officeDocument/2006/relationships/image" Target="../media/image53.emf"/><Relationship Id="rId7" Type="http://schemas.openxmlformats.org/officeDocument/2006/relationships/tags" Target="../tags/tag87.xml"/><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tags" Target="../tags/tag82.xml"/><Relationship Id="rId16" Type="http://schemas.openxmlformats.org/officeDocument/2006/relationships/image" Target="../media/image16.png"/><Relationship Id="rId20" Type="http://schemas.openxmlformats.org/officeDocument/2006/relationships/image" Target="../media/image52.png"/><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11.png"/><Relationship Id="rId5" Type="http://schemas.openxmlformats.org/officeDocument/2006/relationships/tags" Target="../tags/tag85.xml"/><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51.png"/><Relationship Id="rId4" Type="http://schemas.openxmlformats.org/officeDocument/2006/relationships/tags" Target="../tags/tag84.xml"/><Relationship Id="rId9" Type="http://schemas.openxmlformats.org/officeDocument/2006/relationships/notesSlide" Target="../notesSlides/notesSlide18.xml"/><Relationship Id="rId14" Type="http://schemas.openxmlformats.org/officeDocument/2006/relationships/image" Target="../media/image14.png"/></Relationships>
</file>

<file path=ppt/slides/_rels/slide19.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tags" Target="../tags/tag90.xml"/><Relationship Id="rId7" Type="http://schemas.openxmlformats.org/officeDocument/2006/relationships/notesSlide" Target="../notesSlides/notesSlide19.xml"/><Relationship Id="rId12" Type="http://schemas.openxmlformats.org/officeDocument/2006/relationships/image" Target="../media/image14.png"/><Relationship Id="rId17" Type="http://schemas.openxmlformats.org/officeDocument/2006/relationships/image" Target="../media/image55.png"/><Relationship Id="rId2" Type="http://schemas.openxmlformats.org/officeDocument/2006/relationships/tags" Target="../tags/tag89.xml"/><Relationship Id="rId16" Type="http://schemas.openxmlformats.org/officeDocument/2006/relationships/image" Target="../media/image54.emf"/><Relationship Id="rId1" Type="http://schemas.openxmlformats.org/officeDocument/2006/relationships/tags" Target="../tags/tag88.xml"/><Relationship Id="rId6" Type="http://schemas.openxmlformats.org/officeDocument/2006/relationships/slideLayout" Target="../slideLayouts/slideLayout11.xml"/><Relationship Id="rId11" Type="http://schemas.openxmlformats.org/officeDocument/2006/relationships/image" Target="../media/image13.png"/><Relationship Id="rId5" Type="http://schemas.openxmlformats.org/officeDocument/2006/relationships/tags" Target="../tags/tag92.xml"/><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tags" Target="../tags/tag91.xml"/><Relationship Id="rId9" Type="http://schemas.openxmlformats.org/officeDocument/2006/relationships/image" Target="../media/image11.png"/><Relationship Id="rId14" Type="http://schemas.openxmlformats.org/officeDocument/2006/relationships/image" Target="../media/image1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image" Target="../media/image12.png"/><Relationship Id="rId18" Type="http://schemas.openxmlformats.org/officeDocument/2006/relationships/image" Target="../media/image17.png"/><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tags" Target="../tags/tag94.xml"/><Relationship Id="rId16" Type="http://schemas.openxmlformats.org/officeDocument/2006/relationships/image" Target="../media/image15.png"/><Relationship Id="rId20" Type="http://schemas.openxmlformats.org/officeDocument/2006/relationships/image" Target="../media/image57.png"/><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10.png"/><Relationship Id="rId5" Type="http://schemas.openxmlformats.org/officeDocument/2006/relationships/tags" Target="../tags/tag97.xml"/><Relationship Id="rId15" Type="http://schemas.openxmlformats.org/officeDocument/2006/relationships/image" Target="../media/image14.png"/><Relationship Id="rId10" Type="http://schemas.openxmlformats.org/officeDocument/2006/relationships/notesSlide" Target="../notesSlides/notesSlide20.xml"/><Relationship Id="rId19" Type="http://schemas.openxmlformats.org/officeDocument/2006/relationships/image" Target="../media/image56.emf"/><Relationship Id="rId4" Type="http://schemas.openxmlformats.org/officeDocument/2006/relationships/tags" Target="../tags/tag96.xml"/><Relationship Id="rId9" Type="http://schemas.openxmlformats.org/officeDocument/2006/relationships/slideLayout" Target="../slideLayouts/slideLayout11.xml"/><Relationship Id="rId14" Type="http://schemas.openxmlformats.org/officeDocument/2006/relationships/image" Target="../media/image13.png"/></Relationships>
</file>

<file path=ppt/slides/_rels/slide21.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12.png"/><Relationship Id="rId18" Type="http://schemas.openxmlformats.org/officeDocument/2006/relationships/image" Target="../media/image17.png"/><Relationship Id="rId3" Type="http://schemas.openxmlformats.org/officeDocument/2006/relationships/tags" Target="../tags/tag103.xml"/><Relationship Id="rId21" Type="http://schemas.openxmlformats.org/officeDocument/2006/relationships/image" Target="../media/image60.png"/><Relationship Id="rId7" Type="http://schemas.openxmlformats.org/officeDocument/2006/relationships/tags" Target="../tags/tag107.xml"/><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tags" Target="../tags/tag102.xml"/><Relationship Id="rId16" Type="http://schemas.openxmlformats.org/officeDocument/2006/relationships/image" Target="../media/image15.png"/><Relationship Id="rId20" Type="http://schemas.openxmlformats.org/officeDocument/2006/relationships/image" Target="../media/image59.png"/><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image" Target="../media/image10.png"/><Relationship Id="rId5" Type="http://schemas.openxmlformats.org/officeDocument/2006/relationships/tags" Target="../tags/tag105.xml"/><Relationship Id="rId15" Type="http://schemas.openxmlformats.org/officeDocument/2006/relationships/image" Target="../media/image14.png"/><Relationship Id="rId10" Type="http://schemas.openxmlformats.org/officeDocument/2006/relationships/notesSlide" Target="../notesSlides/notesSlide21.xml"/><Relationship Id="rId19" Type="http://schemas.openxmlformats.org/officeDocument/2006/relationships/image" Target="../media/image58.emf"/><Relationship Id="rId4" Type="http://schemas.openxmlformats.org/officeDocument/2006/relationships/tags" Target="../tags/tag104.xml"/><Relationship Id="rId9" Type="http://schemas.openxmlformats.org/officeDocument/2006/relationships/slideLayout" Target="../slideLayouts/slideLayout11.xml"/><Relationship Id="rId14" Type="http://schemas.openxmlformats.org/officeDocument/2006/relationships/image" Target="../media/image13.png"/><Relationship Id="rId22" Type="http://schemas.openxmlformats.org/officeDocument/2006/relationships/image" Target="../media/image61.emf"/></Relationships>
</file>

<file path=ppt/slides/_rels/slide2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tags" Target="../tags/tag111.xml"/><Relationship Id="rId7" Type="http://schemas.openxmlformats.org/officeDocument/2006/relationships/notesSlide" Target="../notesSlides/notesSlide22.xml"/><Relationship Id="rId12" Type="http://schemas.openxmlformats.org/officeDocument/2006/relationships/image" Target="../media/image14.png"/><Relationship Id="rId17" Type="http://schemas.openxmlformats.org/officeDocument/2006/relationships/image" Target="../media/image63.png"/><Relationship Id="rId2" Type="http://schemas.openxmlformats.org/officeDocument/2006/relationships/tags" Target="../tags/tag110.xml"/><Relationship Id="rId16" Type="http://schemas.openxmlformats.org/officeDocument/2006/relationships/image" Target="../media/image62.emf"/><Relationship Id="rId1" Type="http://schemas.openxmlformats.org/officeDocument/2006/relationships/tags" Target="../tags/tag109.xml"/><Relationship Id="rId6" Type="http://schemas.openxmlformats.org/officeDocument/2006/relationships/slideLayout" Target="../slideLayouts/slideLayout11.xml"/><Relationship Id="rId11" Type="http://schemas.openxmlformats.org/officeDocument/2006/relationships/image" Target="../media/image13.png"/><Relationship Id="rId5" Type="http://schemas.openxmlformats.org/officeDocument/2006/relationships/tags" Target="../tags/tag113.xml"/><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tags" Target="../tags/tag112.xml"/><Relationship Id="rId9" Type="http://schemas.openxmlformats.org/officeDocument/2006/relationships/image" Target="../media/image11.png"/><Relationship Id="rId14" Type="http://schemas.openxmlformats.org/officeDocument/2006/relationships/image" Target="../media/image16.png"/></Relationships>
</file>

<file path=ppt/slides/_rels/slide23.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image" Target="../media/image12.png"/><Relationship Id="rId18" Type="http://schemas.openxmlformats.org/officeDocument/2006/relationships/image" Target="../media/image17.png"/><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tags" Target="../tags/tag115.xml"/><Relationship Id="rId16" Type="http://schemas.openxmlformats.org/officeDocument/2006/relationships/image" Target="../media/image15.png"/><Relationship Id="rId20" Type="http://schemas.openxmlformats.org/officeDocument/2006/relationships/image" Target="../media/image65.png"/><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image" Target="../media/image10.png"/><Relationship Id="rId5" Type="http://schemas.openxmlformats.org/officeDocument/2006/relationships/tags" Target="../tags/tag118.xml"/><Relationship Id="rId15" Type="http://schemas.openxmlformats.org/officeDocument/2006/relationships/image" Target="../media/image14.png"/><Relationship Id="rId10" Type="http://schemas.openxmlformats.org/officeDocument/2006/relationships/notesSlide" Target="../notesSlides/notesSlide23.xml"/><Relationship Id="rId19" Type="http://schemas.openxmlformats.org/officeDocument/2006/relationships/image" Target="../media/image64.emf"/><Relationship Id="rId4" Type="http://schemas.openxmlformats.org/officeDocument/2006/relationships/tags" Target="../tags/tag117.xml"/><Relationship Id="rId9" Type="http://schemas.openxmlformats.org/officeDocument/2006/relationships/slideLayout" Target="../slideLayouts/slideLayout11.xml"/><Relationship Id="rId14" Type="http://schemas.openxmlformats.org/officeDocument/2006/relationships/image" Target="../media/image13.png"/></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3.png"/><Relationship Id="rId18" Type="http://schemas.openxmlformats.org/officeDocument/2006/relationships/image" Target="../media/image66.emf"/><Relationship Id="rId3" Type="http://schemas.openxmlformats.org/officeDocument/2006/relationships/tags" Target="../tags/tag124.xml"/><Relationship Id="rId21" Type="http://schemas.openxmlformats.org/officeDocument/2006/relationships/image" Target="../media/image69.png"/><Relationship Id="rId7" Type="http://schemas.openxmlformats.org/officeDocument/2006/relationships/tags" Target="../tags/tag128.xml"/><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tags" Target="../tags/tag123.xml"/><Relationship Id="rId16" Type="http://schemas.openxmlformats.org/officeDocument/2006/relationships/image" Target="../media/image16.png"/><Relationship Id="rId20" Type="http://schemas.openxmlformats.org/officeDocument/2006/relationships/image" Target="../media/image68.png"/><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image" Target="../media/image11.png"/><Relationship Id="rId5" Type="http://schemas.openxmlformats.org/officeDocument/2006/relationships/tags" Target="../tags/tag126.xml"/><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67.emf"/><Relationship Id="rId4" Type="http://schemas.openxmlformats.org/officeDocument/2006/relationships/tags" Target="../tags/tag125.xml"/><Relationship Id="rId9" Type="http://schemas.openxmlformats.org/officeDocument/2006/relationships/notesSlide" Target="../notesSlides/notesSlide24.xml"/><Relationship Id="rId14" Type="http://schemas.openxmlformats.org/officeDocument/2006/relationships/image" Target="../media/image14.png"/></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5.xml"/><Relationship Id="rId13" Type="http://schemas.openxmlformats.org/officeDocument/2006/relationships/image" Target="../media/image14.png"/><Relationship Id="rId18" Type="http://schemas.openxmlformats.org/officeDocument/2006/relationships/image" Target="../media/image71.emf"/><Relationship Id="rId3" Type="http://schemas.openxmlformats.org/officeDocument/2006/relationships/tags" Target="../tags/tag131.xml"/><Relationship Id="rId7" Type="http://schemas.openxmlformats.org/officeDocument/2006/relationships/slideLayout" Target="../slideLayouts/slideLayout11.xml"/><Relationship Id="rId12" Type="http://schemas.openxmlformats.org/officeDocument/2006/relationships/image" Target="../media/image13.png"/><Relationship Id="rId17" Type="http://schemas.openxmlformats.org/officeDocument/2006/relationships/image" Target="../media/image70.emf"/><Relationship Id="rId2" Type="http://schemas.openxmlformats.org/officeDocument/2006/relationships/tags" Target="../tags/tag130.xml"/><Relationship Id="rId16" Type="http://schemas.openxmlformats.org/officeDocument/2006/relationships/image" Target="../media/image17.png"/><Relationship Id="rId20" Type="http://schemas.openxmlformats.org/officeDocument/2006/relationships/image" Target="../media/image73.png"/><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image" Target="../media/image12.png"/><Relationship Id="rId5" Type="http://schemas.openxmlformats.org/officeDocument/2006/relationships/tags" Target="../tags/tag133.xml"/><Relationship Id="rId15" Type="http://schemas.openxmlformats.org/officeDocument/2006/relationships/image" Target="../media/image16.png"/><Relationship Id="rId10" Type="http://schemas.openxmlformats.org/officeDocument/2006/relationships/image" Target="../media/image11.png"/><Relationship Id="rId19" Type="http://schemas.openxmlformats.org/officeDocument/2006/relationships/image" Target="../media/image72.png"/><Relationship Id="rId4" Type="http://schemas.openxmlformats.org/officeDocument/2006/relationships/tags" Target="../tags/tag132.xml"/><Relationship Id="rId9" Type="http://schemas.openxmlformats.org/officeDocument/2006/relationships/image" Target="../media/image10.png"/><Relationship Id="rId14" Type="http://schemas.openxmlformats.org/officeDocument/2006/relationships/image" Target="../media/image15.png"/></Relationships>
</file>

<file path=ppt/slides/_rels/slide26.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79.png"/><Relationship Id="rId3" Type="http://schemas.openxmlformats.org/officeDocument/2006/relationships/tags" Target="../tags/tag137.xml"/><Relationship Id="rId21" Type="http://schemas.openxmlformats.org/officeDocument/2006/relationships/image" Target="../media/image74.emf"/><Relationship Id="rId7" Type="http://schemas.openxmlformats.org/officeDocument/2006/relationships/tags" Target="../tags/tag141.xml"/><Relationship Id="rId12" Type="http://schemas.openxmlformats.org/officeDocument/2006/relationships/notesSlide" Target="../notesSlides/notesSlide26.xml"/><Relationship Id="rId17" Type="http://schemas.openxmlformats.org/officeDocument/2006/relationships/image" Target="../media/image14.png"/><Relationship Id="rId25" Type="http://schemas.openxmlformats.org/officeDocument/2006/relationships/image" Target="../media/image78.png"/><Relationship Id="rId2" Type="http://schemas.openxmlformats.org/officeDocument/2006/relationships/tags" Target="../tags/tag136.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slideLayout" Target="../slideLayouts/slideLayout11.xml"/><Relationship Id="rId24" Type="http://schemas.openxmlformats.org/officeDocument/2006/relationships/image" Target="../media/image77.png"/><Relationship Id="rId5" Type="http://schemas.openxmlformats.org/officeDocument/2006/relationships/tags" Target="../tags/tag139.xml"/><Relationship Id="rId15" Type="http://schemas.openxmlformats.org/officeDocument/2006/relationships/image" Target="../media/image12.png"/><Relationship Id="rId23" Type="http://schemas.openxmlformats.org/officeDocument/2006/relationships/image" Target="../media/image76.emf"/><Relationship Id="rId10" Type="http://schemas.openxmlformats.org/officeDocument/2006/relationships/tags" Target="../tags/tag144.xml"/><Relationship Id="rId19" Type="http://schemas.openxmlformats.org/officeDocument/2006/relationships/image" Target="../media/image16.png"/><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image" Target="../media/image11.png"/><Relationship Id="rId22" Type="http://schemas.openxmlformats.org/officeDocument/2006/relationships/image" Target="../media/image75.emf"/></Relationships>
</file>

<file path=ppt/slides/_rels/slide27.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image" Target="../media/image12.png"/><Relationship Id="rId18" Type="http://schemas.openxmlformats.org/officeDocument/2006/relationships/image" Target="../media/image17.png"/><Relationship Id="rId3" Type="http://schemas.openxmlformats.org/officeDocument/2006/relationships/tags" Target="../tags/tag146.xml"/><Relationship Id="rId21" Type="http://schemas.openxmlformats.org/officeDocument/2006/relationships/oleObject" Target="../embeddings/oleObject4.bin"/><Relationship Id="rId7" Type="http://schemas.openxmlformats.org/officeDocument/2006/relationships/tags" Target="../tags/tag150.xml"/><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tags" Target="../tags/tag145.xml"/><Relationship Id="rId16" Type="http://schemas.openxmlformats.org/officeDocument/2006/relationships/image" Target="../media/image15.png"/><Relationship Id="rId20" Type="http://schemas.openxmlformats.org/officeDocument/2006/relationships/image" Target="../media/image81.png"/><Relationship Id="rId1" Type="http://schemas.openxmlformats.org/officeDocument/2006/relationships/vmlDrawing" Target="../drawings/vmlDrawing4.vml"/><Relationship Id="rId6" Type="http://schemas.openxmlformats.org/officeDocument/2006/relationships/tags" Target="../tags/tag149.xml"/><Relationship Id="rId11" Type="http://schemas.openxmlformats.org/officeDocument/2006/relationships/image" Target="../media/image10.png"/><Relationship Id="rId5" Type="http://schemas.openxmlformats.org/officeDocument/2006/relationships/tags" Target="../tags/tag148.xml"/><Relationship Id="rId15" Type="http://schemas.openxmlformats.org/officeDocument/2006/relationships/image" Target="../media/image14.png"/><Relationship Id="rId23" Type="http://schemas.openxmlformats.org/officeDocument/2006/relationships/image" Target="../media/image5.wmf"/><Relationship Id="rId10" Type="http://schemas.openxmlformats.org/officeDocument/2006/relationships/notesSlide" Target="../notesSlides/notesSlide27.xml"/><Relationship Id="rId19" Type="http://schemas.openxmlformats.org/officeDocument/2006/relationships/image" Target="../media/image80.emf"/><Relationship Id="rId4" Type="http://schemas.openxmlformats.org/officeDocument/2006/relationships/tags" Target="../tags/tag147.xml"/><Relationship Id="rId9" Type="http://schemas.openxmlformats.org/officeDocument/2006/relationships/slideLayout" Target="../slideLayouts/slideLayout11.xml"/><Relationship Id="rId14" Type="http://schemas.openxmlformats.org/officeDocument/2006/relationships/image" Target="../media/image13.png"/><Relationship Id="rId22" Type="http://schemas.openxmlformats.org/officeDocument/2006/relationships/package" Target="../embeddings/Microsoft_Excel-Arbeitsblatt4.xlsx"/></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5.xml"/><Relationship Id="rId1" Type="http://schemas.openxmlformats.org/officeDocument/2006/relationships/tags" Target="../tags/tag152.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8.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7.emf"/><Relationship Id="rId17" Type="http://schemas.openxmlformats.org/officeDocument/2006/relationships/image" Target="../media/image5.wmf"/><Relationship Id="rId2" Type="http://schemas.openxmlformats.org/officeDocument/2006/relationships/tags" Target="../tags/tag3.xml"/><Relationship Id="rId16" Type="http://schemas.openxmlformats.org/officeDocument/2006/relationships/package" Target="../embeddings/Microsoft_Excel-Arbeitsblatt2.xlsx"/><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image" Target="../media/image6.emf"/><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notesSlide" Target="../notesSlides/notesSlide3.xml"/><Relationship Id="rId4" Type="http://schemas.openxmlformats.org/officeDocument/2006/relationships/tags" Target="../tags/tag5.xml"/><Relationship Id="rId9" Type="http://schemas.openxmlformats.org/officeDocument/2006/relationships/slideLayout" Target="../slideLayouts/slideLayout13.xml"/><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noProof="0" dirty="0" smtClean="0"/>
              <a:t>Workbook</a:t>
            </a:r>
            <a:br>
              <a:rPr lang="en-US" sz="10000" noProof="0" dirty="0" smtClean="0"/>
            </a:br>
            <a:r>
              <a:rPr lang="en-US" sz="10000" noProof="0" dirty="0" smtClean="0"/>
              <a:t>Sales &amp; Gross Profit (Planning)</a:t>
            </a:r>
            <a:endParaRPr lang="en-US" sz="10000" noProof="0" dirty="0"/>
          </a:p>
        </p:txBody>
      </p:sp>
      <p:sp>
        <p:nvSpPr>
          <p:cNvPr id="5" name="Subtitle 4"/>
          <p:cNvSpPr>
            <a:spLocks noGrp="1"/>
          </p:cNvSpPr>
          <p:nvPr>
            <p:ph type="body" sz="quarter" idx="11"/>
          </p:nvPr>
        </p:nvSpPr>
        <p:spPr/>
        <p:txBody>
          <a:bodyPr/>
          <a:lstStyle/>
          <a:p>
            <a:r>
              <a:rPr lang="en-US" noProof="0" dirty="0" smtClean="0"/>
              <a:t>Internal Use Only</a:t>
            </a:r>
          </a:p>
          <a:p>
            <a:endParaRPr lang="en-US" noProof="0" dirty="0" smtClean="0"/>
          </a:p>
          <a:p>
            <a:pPr lvl="1"/>
            <a:r>
              <a:rPr lang="en-US" noProof="0" dirty="0" smtClean="0"/>
              <a:t>April 2017</a:t>
            </a:r>
            <a:endParaRPr lang="en-US" noProof="0"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3" name="Objekt 2"/>
          <p:cNvGraphicFramePr>
            <a:graphicFrameLocks noChangeAspect="1"/>
          </p:cNvGraphicFramePr>
          <p:nvPr>
            <p:extLst>
              <p:ext uri="{D42A27DB-BD31-4B8C-83A1-F6EECF244321}">
                <p14:modId xmlns:p14="http://schemas.microsoft.com/office/powerpoint/2010/main" val="1286569121"/>
              </p:ext>
            </p:extLst>
          </p:nvPr>
        </p:nvGraphicFramePr>
        <p:xfrm>
          <a:off x="-1128713" y="6021388"/>
          <a:ext cx="914400" cy="771525"/>
        </p:xfrm>
        <a:graphic>
          <a:graphicData uri="http://schemas.openxmlformats.org/presentationml/2006/ole">
            <mc:AlternateContent xmlns:mc="http://schemas.openxmlformats.org/markup-compatibility/2006">
              <mc:Choice xmlns:v="urn:schemas-microsoft-com:vml" Requires="v">
                <p:oleObj spid="_x0000_s14431" name="Arbeitsblatt" showAsIcon="1" r:id="rId5" imgW="914400" imgH="771480" progId="Excel.Sheet.12">
                  <p:embed/>
                </p:oleObj>
              </mc:Choice>
              <mc:Fallback>
                <p:oleObj name="Arbeitsblatt" showAsIcon="1" r:id="rId5" imgW="914400" imgH="771480" progId="Excel.Sheet.12">
                  <p:embed/>
                  <p:pic>
                    <p:nvPicPr>
                      <p:cNvPr id="0" name=""/>
                      <p:cNvPicPr/>
                      <p:nvPr/>
                    </p:nvPicPr>
                    <p:blipFill>
                      <a:blip r:embed="rId6"/>
                      <a:stretch>
                        <a:fillRect/>
                      </a:stretch>
                    </p:blipFill>
                    <p:spPr>
                      <a:xfrm>
                        <a:off x="-1128713" y="602138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In view of the XXX</a:t>
            </a:r>
            <a:r>
              <a:rPr lang="en-US" dirty="0" smtClean="0"/>
              <a:t>/ [</a:t>
            </a:r>
            <a:r>
              <a:rPr lang="en-US" dirty="0"/>
              <a:t>subsequently </a:t>
            </a:r>
            <a:r>
              <a:rPr lang="en-US" dirty="0" smtClean="0"/>
              <a:t>analyzed </a:t>
            </a:r>
            <a:r>
              <a:rPr lang="en-US" dirty="0"/>
              <a:t>issues] we consider the higher planned sales growth of the XXX AG compared to market expectations to be in general plausible</a:t>
            </a:r>
            <a:r>
              <a:rPr lang="en-US" dirty="0" smtClean="0"/>
              <a:t>.</a:t>
            </a:r>
            <a:endParaRPr lang="en-US" dirty="0"/>
          </a:p>
        </p:txBody>
      </p:sp>
      <p:sp>
        <p:nvSpPr>
          <p:cNvPr id="5" name="Textplatzhalter 4"/>
          <p:cNvSpPr>
            <a:spLocks noGrp="1"/>
          </p:cNvSpPr>
          <p:nvPr>
            <p:ph type="body" sz="quarter" idx="12"/>
          </p:nvPr>
        </p:nvSpPr>
        <p:spPr/>
        <p:txBody>
          <a:bodyPr/>
          <a:lstStyle/>
          <a:p>
            <a:r>
              <a:rPr lang="en-US" dirty="0" smtClean="0"/>
              <a:t>Company-specific market growth</a:t>
            </a:r>
          </a:p>
          <a:p>
            <a:pPr lvl="2"/>
            <a:r>
              <a:rPr lang="en-US" dirty="0" smtClean="0"/>
              <a:t>Market study YYY forecasts an average growth of </a:t>
            </a:r>
            <a:r>
              <a:rPr lang="en-US" dirty="0" err="1" smtClean="0"/>
              <a:t>x.x</a:t>
            </a:r>
            <a:r>
              <a:rPr lang="en-US" dirty="0" smtClean="0"/>
              <a:t>% p.a. in the next three years in region ZZZ.</a:t>
            </a:r>
          </a:p>
          <a:p>
            <a:pPr lvl="2"/>
            <a:r>
              <a:rPr lang="en-US" dirty="0" smtClean="0"/>
              <a:t>While it is expected that the most important sales markets for the XXX AG – the xxx markets – will have single-digit growth, the YYY study forecasts higher growth rates for the much smaller markets in northern and eastern Europe. The XXX AG is, however, not represented/poorly represented/XXX in these markets.</a:t>
            </a:r>
          </a:p>
          <a:p>
            <a:pPr lvl="2"/>
            <a:r>
              <a:rPr lang="en-US" dirty="0" smtClean="0"/>
              <a:t>Taking into consideration the regional share of sales of the XXX AG, an expected average company-specific market growth of </a:t>
            </a:r>
            <a:r>
              <a:rPr lang="en-US" dirty="0" err="1" smtClean="0"/>
              <a:t>x.x</a:t>
            </a:r>
            <a:r>
              <a:rPr lang="en-US" dirty="0" smtClean="0"/>
              <a:t>% p.a. results for the XXX AG.</a:t>
            </a:r>
          </a:p>
          <a:p>
            <a:pPr lvl="2"/>
            <a:r>
              <a:rPr lang="en-US" dirty="0" smtClean="0"/>
              <a:t>The sales growth reflected in the XXX AG planning calculations is above the company-specific market growth rate derived. This is justified by XXX. </a:t>
            </a:r>
            <a:endParaRPr lang="en-US" dirty="0"/>
          </a:p>
        </p:txBody>
      </p:sp>
      <p:sp>
        <p:nvSpPr>
          <p:cNvPr id="4" name="Titel 3"/>
          <p:cNvSpPr>
            <a:spLocks noGrp="1"/>
          </p:cNvSpPr>
          <p:nvPr>
            <p:ph type="title"/>
          </p:nvPr>
        </p:nvSpPr>
        <p:spPr/>
        <p:txBody>
          <a:bodyPr/>
          <a:lstStyle/>
          <a:p>
            <a:r>
              <a:rPr lang="en-US" dirty="0"/>
              <a:t>1. Is the sales planning consistent with market expectations? (1/2)</a:t>
            </a:r>
          </a:p>
        </p:txBody>
      </p:sp>
      <p:sp>
        <p:nvSpPr>
          <p:cNvPr id="3" name="Textplatzhalter 2"/>
          <p:cNvSpPr>
            <a:spLocks noGrp="1"/>
          </p:cNvSpPr>
          <p:nvPr>
            <p:ph type="body" sz="quarter" idx="13"/>
          </p:nvPr>
        </p:nvSpPr>
        <p:spPr/>
        <p:txBody>
          <a:bodyPr/>
          <a:lstStyle/>
          <a:p>
            <a:r>
              <a:rPr lang="en-US" dirty="0"/>
              <a:t>Sales and Gross Profit (Planning) </a:t>
            </a:r>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1525361451"/>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1"/>
          <a:stretch>
            <a:fillRect/>
          </a:stretch>
        </p:blipFill>
        <p:spPr>
          <a:xfrm>
            <a:off x="7132320" y="5701816"/>
            <a:ext cx="340197" cy="405178"/>
          </a:xfrm>
          <a:prstGeom prst="rect">
            <a:avLst/>
          </a:prstGeom>
        </p:spPr>
      </p:pic>
      <p:pic>
        <p:nvPicPr>
          <p:cNvPr id="20" name="Grafik 19"/>
          <p:cNvPicPr>
            <a:picLocks noChangeAspect="1"/>
          </p:cNvPicPr>
          <p:nvPr/>
        </p:nvPicPr>
        <p:blipFill>
          <a:blip r:embed="rId12"/>
          <a:stretch>
            <a:fillRect/>
          </a:stretch>
        </p:blipFill>
        <p:spPr>
          <a:xfrm>
            <a:off x="7415936" y="5701816"/>
            <a:ext cx="340197" cy="405178"/>
          </a:xfrm>
          <a:prstGeom prst="rect">
            <a:avLst/>
          </a:prstGeom>
        </p:spPr>
      </p:pic>
      <p:pic>
        <p:nvPicPr>
          <p:cNvPr id="21" name="Grafik 20"/>
          <p:cNvPicPr>
            <a:picLocks noChangeAspect="1"/>
          </p:cNvPicPr>
          <p:nvPr/>
        </p:nvPicPr>
        <p:blipFill>
          <a:blip r:embed="rId13"/>
          <a:stretch>
            <a:fillRect/>
          </a:stretch>
        </p:blipFill>
        <p:spPr>
          <a:xfrm>
            <a:off x="7699552" y="5701816"/>
            <a:ext cx="340197" cy="405178"/>
          </a:xfrm>
          <a:prstGeom prst="rect">
            <a:avLst/>
          </a:prstGeom>
        </p:spPr>
      </p:pic>
      <p:pic>
        <p:nvPicPr>
          <p:cNvPr id="22" name="Grafik 21"/>
          <p:cNvPicPr>
            <a:picLocks noChangeAspect="1"/>
          </p:cNvPicPr>
          <p:nvPr/>
        </p:nvPicPr>
        <p:blipFill>
          <a:blip r:embed="rId14"/>
          <a:stretch>
            <a:fillRect/>
          </a:stretch>
        </p:blipFill>
        <p:spPr>
          <a:xfrm>
            <a:off x="7983168" y="5701816"/>
            <a:ext cx="340197" cy="405178"/>
          </a:xfrm>
          <a:prstGeom prst="rect">
            <a:avLst/>
          </a:prstGeom>
        </p:spPr>
      </p:pic>
      <p:pic>
        <p:nvPicPr>
          <p:cNvPr id="23" name="Grafik 22"/>
          <p:cNvPicPr>
            <a:picLocks noChangeAspect="1"/>
          </p:cNvPicPr>
          <p:nvPr/>
        </p:nvPicPr>
        <p:blipFill>
          <a:blip r:embed="rId15"/>
          <a:stretch>
            <a:fillRect/>
          </a:stretch>
        </p:blipFill>
        <p:spPr>
          <a:xfrm>
            <a:off x="8266784" y="5701816"/>
            <a:ext cx="340197" cy="405178"/>
          </a:xfrm>
          <a:prstGeom prst="rect">
            <a:avLst/>
          </a:prstGeom>
        </p:spPr>
      </p:pic>
      <p:pic>
        <p:nvPicPr>
          <p:cNvPr id="24" name="Grafik 23"/>
          <p:cNvPicPr>
            <a:picLocks noChangeAspect="1"/>
          </p:cNvPicPr>
          <p:nvPr/>
        </p:nvPicPr>
        <p:blipFill>
          <a:blip r:embed="rId16"/>
          <a:stretch>
            <a:fillRect/>
          </a:stretch>
        </p:blipFill>
        <p:spPr>
          <a:xfrm>
            <a:off x="8550400" y="5701816"/>
            <a:ext cx="340197" cy="405178"/>
          </a:xfrm>
          <a:prstGeom prst="rect">
            <a:avLst/>
          </a:prstGeom>
        </p:spPr>
      </p:pic>
      <p:sp>
        <p:nvSpPr>
          <p:cNvPr id="26"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Market volumes and market growth</a:t>
            </a:r>
          </a:p>
        </p:txBody>
      </p:sp>
      <p:pic>
        <p:nvPicPr>
          <p:cNvPr id="30" name="Grafik 29"/>
          <p:cNvPicPr>
            <a:picLocks/>
          </p:cNvPicPr>
          <p:nvPr/>
        </p:nvPicPr>
        <p:blipFill>
          <a:blip r:embed="rId17">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8"/>
          <a:stretch>
            <a:fillRect/>
          </a:stretch>
        </p:blipFill>
        <p:spPr>
          <a:xfrm>
            <a:off x="8834016" y="5701816"/>
            <a:ext cx="340197" cy="405178"/>
          </a:xfrm>
          <a:prstGeom prst="rect">
            <a:avLst/>
          </a:prstGeom>
        </p:spPr>
      </p:pic>
      <p:pic>
        <p:nvPicPr>
          <p:cNvPr id="9" name="Grafik 8"/>
          <p:cNvPicPr>
            <a:picLocks noChangeAspect="1"/>
          </p:cNvPicPr>
          <p:nvPr>
            <p:custDataLst>
              <p:tags r:id="rId4"/>
            </p:custDataLst>
          </p:nvPr>
        </p:nvPicPr>
        <p:blipFill>
          <a:blip r:embed="rId19"/>
          <a:stretch>
            <a:fillRect/>
          </a:stretch>
        </p:blipFill>
        <p:spPr>
          <a:xfrm>
            <a:off x="2207547" y="1398312"/>
            <a:ext cx="3818860" cy="2720243"/>
          </a:xfrm>
          <a:prstGeom prst="rect">
            <a:avLst/>
          </a:prstGeom>
        </p:spPr>
      </p:pic>
      <p:sp>
        <p:nvSpPr>
          <p:cNvPr id="32" name="Rechteck 31"/>
          <p:cNvSpPr/>
          <p:nvPr/>
        </p:nvSpPr>
        <p:spPr>
          <a:xfrm>
            <a:off x="3387635" y="1696125"/>
            <a:ext cx="855588" cy="432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t>Company-specific market growth is at </a:t>
            </a:r>
            <a:br>
              <a:rPr lang="en-US" sz="700" b="1" dirty="0" smtClean="0"/>
            </a:br>
            <a:r>
              <a:rPr lang="en-US" sz="700" b="1" dirty="0" smtClean="0"/>
              <a:t>2.1%</a:t>
            </a:r>
          </a:p>
        </p:txBody>
      </p:sp>
      <p:sp>
        <p:nvSpPr>
          <p:cNvPr id="33" name="Rechteck 32"/>
          <p:cNvSpPr/>
          <p:nvPr/>
        </p:nvSpPr>
        <p:spPr>
          <a:xfrm>
            <a:off x="4458790" y="2090054"/>
            <a:ext cx="801188" cy="33725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t>XXX AG plans with a growth rate of 2.4%</a:t>
            </a:r>
          </a:p>
        </p:txBody>
      </p:sp>
      <p:cxnSp>
        <p:nvCxnSpPr>
          <p:cNvPr id="34" name="Gerade Verbindung mit Pfeil 33"/>
          <p:cNvCxnSpPr/>
          <p:nvPr/>
        </p:nvCxnSpPr>
        <p:spPr>
          <a:xfrm flipV="1">
            <a:off x="3426364" y="2152135"/>
            <a:ext cx="0" cy="504000"/>
          </a:xfrm>
          <a:prstGeom prst="straightConnector1">
            <a:avLst/>
          </a:prstGeom>
          <a:ln w="12700">
            <a:solidFill>
              <a:schemeClr val="accent4"/>
            </a:solidFill>
            <a:headEnd w="sm" len="sm"/>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p:nvCxnSpPr>
        <p:spPr>
          <a:xfrm flipV="1">
            <a:off x="4797968" y="2447008"/>
            <a:ext cx="0" cy="144017"/>
          </a:xfrm>
          <a:prstGeom prst="straightConnector1">
            <a:avLst/>
          </a:prstGeom>
          <a:ln w="12700">
            <a:solidFill>
              <a:schemeClr val="accent3"/>
            </a:solidFill>
            <a:headEnd w="sm" len="sm"/>
            <a:tailEnd type="triangle"/>
          </a:ln>
        </p:spPr>
        <p:style>
          <a:lnRef idx="1">
            <a:schemeClr val="accent1"/>
          </a:lnRef>
          <a:fillRef idx="0">
            <a:schemeClr val="accent1"/>
          </a:fillRef>
          <a:effectRef idx="0">
            <a:schemeClr val="accent1"/>
          </a:effectRef>
          <a:fontRef idx="minor">
            <a:schemeClr val="tx1"/>
          </a:fontRef>
        </p:style>
      </p:cxnSp>
      <p:sp>
        <p:nvSpPr>
          <p:cNvPr id="40" name="Text Placeholder 12"/>
          <p:cNvSpPr txBox="1">
            <a:spLocks/>
          </p:cNvSpPr>
          <p:nvPr>
            <p:custDataLst>
              <p:tags r:id="rId5"/>
            </p:custDataLst>
          </p:nvPr>
        </p:nvSpPr>
        <p:spPr>
          <a:xfrm>
            <a:off x="2447922" y="3817257"/>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Comparison XXX AG vs. entire market</a:t>
            </a:r>
            <a:endParaRPr lang="en-US" sz="900" kern="0" dirty="0">
              <a:latin typeface="Arial" panose="020B0604020202020204" pitchFamily="34" charset="0"/>
              <a:cs typeface="Arial" panose="020B0604020202020204" pitchFamily="34" charset="0"/>
            </a:endParaRPr>
          </a:p>
        </p:txBody>
      </p:sp>
      <p:pic>
        <p:nvPicPr>
          <p:cNvPr id="15" name="Grafik 14"/>
          <p:cNvPicPr>
            <a:picLocks noChangeAspect="1"/>
          </p:cNvPicPr>
          <p:nvPr>
            <p:custDataLst>
              <p:tags r:id="rId6"/>
            </p:custDataLst>
          </p:nvPr>
        </p:nvPicPr>
        <p:blipFill rotWithShape="1">
          <a:blip r:embed="rId20"/>
          <a:srcRect l="2129" t="37846" r="25109" b="2460"/>
          <a:stretch/>
        </p:blipFill>
        <p:spPr>
          <a:xfrm>
            <a:off x="2443284" y="3980978"/>
            <a:ext cx="3401890" cy="2071479"/>
          </a:xfrm>
          <a:prstGeom prst="rect">
            <a:avLst/>
          </a:prstGeom>
        </p:spPr>
      </p:pic>
      <p:pic>
        <p:nvPicPr>
          <p:cNvPr id="7" name="Grafik 6"/>
          <p:cNvPicPr>
            <a:picLocks noChangeAspect="1"/>
          </p:cNvPicPr>
          <p:nvPr>
            <p:custDataLst>
              <p:tags r:id="rId7"/>
            </p:custDataLst>
          </p:nvPr>
        </p:nvPicPr>
        <p:blipFill>
          <a:blip r:embed="rId21"/>
          <a:stretch>
            <a:fillRect/>
          </a:stretch>
        </p:blipFill>
        <p:spPr>
          <a:xfrm>
            <a:off x="-2743728" y="1177925"/>
            <a:ext cx="2024047" cy="2225233"/>
          </a:xfrm>
          <a:prstGeom prst="rect">
            <a:avLst/>
          </a:prstGeom>
        </p:spPr>
      </p:pic>
      <p:pic>
        <p:nvPicPr>
          <p:cNvPr id="11" name="Grafik 10"/>
          <p:cNvPicPr>
            <a:picLocks noChangeAspect="1"/>
          </p:cNvPicPr>
          <p:nvPr>
            <p:custDataLst>
              <p:tags r:id="rId8"/>
            </p:custDataLst>
          </p:nvPr>
        </p:nvPicPr>
        <p:blipFill>
          <a:blip r:embed="rId22"/>
          <a:stretch>
            <a:fillRect/>
          </a:stretch>
        </p:blipFill>
        <p:spPr>
          <a:xfrm>
            <a:off x="-2755182" y="3595717"/>
            <a:ext cx="1981372" cy="2225233"/>
          </a:xfrm>
          <a:prstGeom prst="rect">
            <a:avLst/>
          </a:prstGeom>
        </p:spPr>
      </p:pic>
      <p:graphicFrame>
        <p:nvGraphicFramePr>
          <p:cNvPr id="35" name="Objekt 34"/>
          <p:cNvGraphicFramePr>
            <a:graphicFrameLocks noChangeAspect="1"/>
          </p:cNvGraphicFramePr>
          <p:nvPr>
            <p:extLst>
              <p:ext uri="{D42A27DB-BD31-4B8C-83A1-F6EECF244321}">
                <p14:modId xmlns:p14="http://schemas.microsoft.com/office/powerpoint/2010/main" val="2531359891"/>
              </p:ext>
            </p:extLst>
          </p:nvPr>
        </p:nvGraphicFramePr>
        <p:xfrm>
          <a:off x="-1731705" y="451575"/>
          <a:ext cx="914400" cy="771525"/>
        </p:xfrm>
        <a:graphic>
          <a:graphicData uri="http://schemas.openxmlformats.org/presentationml/2006/ole">
            <mc:AlternateContent xmlns:mc="http://schemas.openxmlformats.org/markup-compatibility/2006">
              <mc:Choice xmlns:v="urn:schemas-microsoft-com:vml" Requires="v">
                <p:oleObj spid="_x0000_s18477" name="Arbeitsblatt" showAsIcon="1" r:id="rId24" imgW="914400" imgH="771480" progId="Excel.Sheet.12">
                  <p:embed/>
                </p:oleObj>
              </mc:Choice>
              <mc:Fallback>
                <p:oleObj name="Arbeitsblatt" showAsIcon="1" r:id="rId24" imgW="914400" imgH="771480" progId="Excel.Sheet.12">
                  <p:embed/>
                  <p:pic>
                    <p:nvPicPr>
                      <p:cNvPr id="0" name=""/>
                      <p:cNvPicPr/>
                      <p:nvPr/>
                    </p:nvPicPr>
                    <p:blipFill>
                      <a:blip r:embed="rId25"/>
                      <a:stretch>
                        <a:fillRect/>
                      </a:stretch>
                    </p:blipFill>
                    <p:spPr>
                      <a:xfrm>
                        <a:off x="-1731705" y="45157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XXX AG sales planning is plausible, in view of the market expectations as well as the analysts’ forecasts for XXX AG and its competitors.</a:t>
            </a:r>
          </a:p>
          <a:p>
            <a:r>
              <a:rPr lang="en-US" noProof="0" dirty="0"/>
              <a:t>As a result of xxx we agree with the management’s forecast regarding the higher growth prospects in Segment B compared to the average forecasts of the analysts.</a:t>
            </a:r>
          </a:p>
        </p:txBody>
      </p:sp>
      <p:sp>
        <p:nvSpPr>
          <p:cNvPr id="5" name="Textplatzhalter 4"/>
          <p:cNvSpPr>
            <a:spLocks noGrp="1"/>
          </p:cNvSpPr>
          <p:nvPr>
            <p:ph type="body" sz="quarter" idx="12"/>
          </p:nvPr>
        </p:nvSpPr>
        <p:spPr/>
        <p:txBody>
          <a:bodyPr/>
          <a:lstStyle/>
          <a:p>
            <a:r>
              <a:rPr lang="en-US" noProof="0" dirty="0" smtClean="0"/>
              <a:t>Comparison of the sales growth to competitors and market studies</a:t>
            </a:r>
          </a:p>
          <a:p>
            <a:pPr lvl="2"/>
            <a:r>
              <a:rPr lang="en-US" noProof="0" dirty="0" smtClean="0"/>
              <a:t>The expected sales growth of the XXX AG is within the range of expected sales growth for comparable companies.</a:t>
            </a:r>
          </a:p>
          <a:p>
            <a:pPr lvl="2"/>
            <a:r>
              <a:rPr lang="en-US" noProof="0" dirty="0" smtClean="0"/>
              <a:t>While the expected sales growth for 2013 corresponds to the average sales growth of comparable companies, in the years 2014 and 2015 it is above the average of comparative companies due to the larger share of XXX AG in the strong growth region X compared to the competition.</a:t>
            </a:r>
          </a:p>
          <a:p>
            <a:pPr lvl="2"/>
            <a:r>
              <a:rPr lang="en-US" noProof="0" dirty="0" smtClean="0"/>
              <a:t>[.... Comparison to market studies ....]</a:t>
            </a:r>
          </a:p>
          <a:p>
            <a:r>
              <a:rPr lang="en-US" noProof="0" dirty="0" smtClean="0"/>
              <a:t>Comparison to analysts’ expectations</a:t>
            </a:r>
          </a:p>
          <a:p>
            <a:pPr lvl="2"/>
            <a:r>
              <a:rPr lang="en-US" noProof="0" dirty="0" smtClean="0"/>
              <a:t>The XXX AG sales planning is in the range of analysts’ forecasts for the planning years under consideration.</a:t>
            </a:r>
          </a:p>
          <a:p>
            <a:pPr lvl="2"/>
            <a:r>
              <a:rPr lang="en-US" noProof="0" dirty="0" smtClean="0"/>
              <a:t>While the analysts expect even higher growth than the XXX AG as a result of XXX in 2013, the XXX AG growth expectations for 2014 and 2015 are above the average sales expectations of the analysts. The primary reason for this is the different forecasts with regard to the growth prospects in Segment B. In our opinion…</a:t>
            </a:r>
          </a:p>
          <a:p>
            <a:pPr lvl="2"/>
            <a:r>
              <a:rPr lang="en-US" noProof="0" dirty="0" smtClean="0"/>
              <a:t>The wide range of the analysts’ forecasts is noteworthy. </a:t>
            </a:r>
            <a:br>
              <a:rPr lang="en-US" noProof="0" dirty="0" smtClean="0"/>
            </a:br>
            <a:r>
              <a:rPr lang="en-US" noProof="0" dirty="0" smtClean="0"/>
              <a:t>While some analysts assume a decline in sales growth up</a:t>
            </a:r>
            <a:br>
              <a:rPr lang="en-US" noProof="0" dirty="0" smtClean="0"/>
            </a:br>
            <a:r>
              <a:rPr lang="en-US" noProof="0" dirty="0" smtClean="0"/>
              <a:t> to 2015, others expect a significant increase in sales</a:t>
            </a:r>
            <a:br>
              <a:rPr lang="en-US" noProof="0" dirty="0" smtClean="0"/>
            </a:br>
            <a:r>
              <a:rPr lang="en-US" noProof="0" dirty="0" smtClean="0"/>
              <a:t> growth. The primary reason for this is the varying</a:t>
            </a:r>
            <a:br>
              <a:rPr lang="en-US" noProof="0" dirty="0" smtClean="0"/>
            </a:br>
            <a:r>
              <a:rPr lang="en-US" noProof="0" dirty="0" smtClean="0"/>
              <a:t> forecasts of the chances of success for the introduction of Product X in 2013. In our opinion…</a:t>
            </a:r>
            <a:endParaRPr lang="en-US" noProof="0" dirty="0"/>
          </a:p>
        </p:txBody>
      </p:sp>
      <p:sp>
        <p:nvSpPr>
          <p:cNvPr id="4" name="Titel 3"/>
          <p:cNvSpPr>
            <a:spLocks noGrp="1"/>
          </p:cNvSpPr>
          <p:nvPr>
            <p:ph type="title"/>
          </p:nvPr>
        </p:nvSpPr>
        <p:spPr/>
        <p:txBody>
          <a:bodyPr/>
          <a:lstStyle/>
          <a:p>
            <a:r>
              <a:rPr lang="en-US" noProof="0" dirty="0"/>
              <a:t>1. Is the sales planning consistent with market expectations? </a:t>
            </a:r>
            <a:r>
              <a:rPr lang="en-US" noProof="0" dirty="0" smtClean="0"/>
              <a:t>(2/2</a:t>
            </a:r>
            <a:r>
              <a:rPr lang="en-US" noProof="0" dirty="0"/>
              <a:t>)</a:t>
            </a:r>
          </a:p>
        </p:txBody>
      </p:sp>
      <p:sp>
        <p:nvSpPr>
          <p:cNvPr id="3" name="Textplatzhalter 2"/>
          <p:cNvSpPr>
            <a:spLocks noGrp="1"/>
          </p:cNvSpPr>
          <p:nvPr>
            <p:ph type="body" sz="quarter" idx="13"/>
          </p:nvPr>
        </p:nvSpPr>
        <p:spPr/>
        <p:txBody>
          <a:bodyPr/>
          <a:lstStyle/>
          <a:p>
            <a:r>
              <a:rPr lang="en-US" noProof="0" dirty="0"/>
              <a:t>Sales and Gross Profit (Planning) </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1"/>
          <a:stretch>
            <a:fillRect/>
          </a:stretch>
        </p:blipFill>
        <p:spPr>
          <a:xfrm>
            <a:off x="7132320" y="5701816"/>
            <a:ext cx="340197" cy="405178"/>
          </a:xfrm>
          <a:prstGeom prst="rect">
            <a:avLst/>
          </a:prstGeom>
        </p:spPr>
      </p:pic>
      <p:pic>
        <p:nvPicPr>
          <p:cNvPr id="20" name="Grafik 19"/>
          <p:cNvPicPr>
            <a:picLocks noChangeAspect="1"/>
          </p:cNvPicPr>
          <p:nvPr/>
        </p:nvPicPr>
        <p:blipFill>
          <a:blip r:embed="rId12"/>
          <a:stretch>
            <a:fillRect/>
          </a:stretch>
        </p:blipFill>
        <p:spPr>
          <a:xfrm>
            <a:off x="7415936" y="5701816"/>
            <a:ext cx="340197" cy="405178"/>
          </a:xfrm>
          <a:prstGeom prst="rect">
            <a:avLst/>
          </a:prstGeom>
        </p:spPr>
      </p:pic>
      <p:pic>
        <p:nvPicPr>
          <p:cNvPr id="21" name="Grafik 20"/>
          <p:cNvPicPr>
            <a:picLocks noChangeAspect="1"/>
          </p:cNvPicPr>
          <p:nvPr/>
        </p:nvPicPr>
        <p:blipFill>
          <a:blip r:embed="rId13"/>
          <a:stretch>
            <a:fillRect/>
          </a:stretch>
        </p:blipFill>
        <p:spPr>
          <a:xfrm>
            <a:off x="7699552" y="5701816"/>
            <a:ext cx="340197" cy="405178"/>
          </a:xfrm>
          <a:prstGeom prst="rect">
            <a:avLst/>
          </a:prstGeom>
        </p:spPr>
      </p:pic>
      <p:pic>
        <p:nvPicPr>
          <p:cNvPr id="22" name="Grafik 21"/>
          <p:cNvPicPr>
            <a:picLocks noChangeAspect="1"/>
          </p:cNvPicPr>
          <p:nvPr/>
        </p:nvPicPr>
        <p:blipFill>
          <a:blip r:embed="rId14"/>
          <a:stretch>
            <a:fillRect/>
          </a:stretch>
        </p:blipFill>
        <p:spPr>
          <a:xfrm>
            <a:off x="7983168" y="5701816"/>
            <a:ext cx="340197" cy="405178"/>
          </a:xfrm>
          <a:prstGeom prst="rect">
            <a:avLst/>
          </a:prstGeom>
        </p:spPr>
      </p:pic>
      <p:pic>
        <p:nvPicPr>
          <p:cNvPr id="23" name="Grafik 22"/>
          <p:cNvPicPr>
            <a:picLocks noChangeAspect="1"/>
          </p:cNvPicPr>
          <p:nvPr/>
        </p:nvPicPr>
        <p:blipFill>
          <a:blip r:embed="rId15"/>
          <a:stretch>
            <a:fillRect/>
          </a:stretch>
        </p:blipFill>
        <p:spPr>
          <a:xfrm>
            <a:off x="8266784" y="5701816"/>
            <a:ext cx="340197" cy="405178"/>
          </a:xfrm>
          <a:prstGeom prst="rect">
            <a:avLst/>
          </a:prstGeom>
        </p:spPr>
      </p:pic>
      <p:pic>
        <p:nvPicPr>
          <p:cNvPr id="24" name="Grafik 23"/>
          <p:cNvPicPr>
            <a:picLocks noChangeAspect="1"/>
          </p:cNvPicPr>
          <p:nvPr/>
        </p:nvPicPr>
        <p:blipFill>
          <a:blip r:embed="rId16"/>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ales growth in comparison to peer group</a:t>
            </a:r>
          </a:p>
        </p:txBody>
      </p:sp>
      <p:sp>
        <p:nvSpPr>
          <p:cNvPr id="27" name="Rectangle 4"/>
          <p:cNvSpPr>
            <a:spLocks noChangeArrowheads="1"/>
          </p:cNvSpPr>
          <p:nvPr>
            <p:custDataLst>
              <p:tags r:id="rId3"/>
            </p:custDataLst>
          </p:nvPr>
        </p:nvSpPr>
        <p:spPr bwMode="gray">
          <a:xfrm>
            <a:off x="7763608" y="5454591"/>
            <a:ext cx="1653442" cy="223679"/>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f applicable presentation </a:t>
            </a:r>
            <a:r>
              <a:rPr lang="en-US" sz="700" dirty="0" smtClean="0">
                <a:solidFill>
                  <a:schemeClr val="bg1"/>
                </a:solidFill>
              </a:rPr>
              <a:t>of </a:t>
            </a:r>
            <a:r>
              <a:rPr lang="en-US" sz="700" dirty="0" smtClean="0">
                <a:solidFill>
                  <a:schemeClr val="bg1"/>
                </a:solidFill>
              </a:rPr>
              <a:t>sales planning at </a:t>
            </a:r>
            <a:r>
              <a:rPr lang="en-US" sz="700" dirty="0" smtClean="0">
                <a:solidFill>
                  <a:schemeClr val="bg1"/>
                </a:solidFill>
              </a:rPr>
              <a:t>segment level</a:t>
            </a:r>
            <a:endParaRPr lang="en-US" sz="700" dirty="0">
              <a:solidFill>
                <a:schemeClr val="bg1"/>
              </a:solidFill>
            </a:endParaRPr>
          </a:p>
        </p:txBody>
      </p:sp>
      <p:pic>
        <p:nvPicPr>
          <p:cNvPr id="30" name="Grafik 29"/>
          <p:cNvPicPr>
            <a:picLocks/>
          </p:cNvPicPr>
          <p:nvPr/>
        </p:nvPicPr>
        <p:blipFill>
          <a:blip r:embed="rId17">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8"/>
          <a:stretch>
            <a:fillRect/>
          </a:stretch>
        </p:blipFill>
        <p:spPr>
          <a:xfrm>
            <a:off x="8834016" y="5701816"/>
            <a:ext cx="340197" cy="405178"/>
          </a:xfrm>
          <a:prstGeom prst="rect">
            <a:avLst/>
          </a:prstGeom>
        </p:spPr>
      </p:pic>
      <p:sp>
        <p:nvSpPr>
          <p:cNvPr id="40" name="Text Placeholder 12"/>
          <p:cNvSpPr txBox="1">
            <a:spLocks/>
          </p:cNvSpPr>
          <p:nvPr>
            <p:custDataLst>
              <p:tags r:id="rId4"/>
            </p:custDataLst>
          </p:nvPr>
        </p:nvSpPr>
        <p:spPr>
          <a:xfrm>
            <a:off x="2447922" y="3817257"/>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ales growth in comparison to analysts' expectations</a:t>
            </a:r>
          </a:p>
        </p:txBody>
      </p:sp>
      <p:pic>
        <p:nvPicPr>
          <p:cNvPr id="11" name="Grafik 10"/>
          <p:cNvPicPr>
            <a:picLocks noChangeAspect="1"/>
          </p:cNvPicPr>
          <p:nvPr>
            <p:custDataLst>
              <p:tags r:id="rId5"/>
            </p:custDataLst>
          </p:nvPr>
        </p:nvPicPr>
        <p:blipFill rotWithShape="1">
          <a:blip r:embed="rId19"/>
          <a:srcRect l="3311" t="9574" r="20101" b="18838"/>
          <a:stretch/>
        </p:blipFill>
        <p:spPr>
          <a:xfrm>
            <a:off x="2447108" y="4040778"/>
            <a:ext cx="3396343" cy="1985554"/>
          </a:xfrm>
          <a:prstGeom prst="rect">
            <a:avLst/>
          </a:prstGeom>
        </p:spPr>
      </p:pic>
      <p:pic>
        <p:nvPicPr>
          <p:cNvPr id="8" name="Grafik 7"/>
          <p:cNvPicPr>
            <a:picLocks noChangeAspect="1"/>
          </p:cNvPicPr>
          <p:nvPr>
            <p:custDataLst>
              <p:tags r:id="rId6"/>
            </p:custDataLst>
          </p:nvPr>
        </p:nvPicPr>
        <p:blipFill>
          <a:blip r:embed="rId20"/>
          <a:stretch>
            <a:fillRect/>
          </a:stretch>
        </p:blipFill>
        <p:spPr>
          <a:xfrm>
            <a:off x="-2793400" y="1422400"/>
            <a:ext cx="1999661" cy="2225233"/>
          </a:xfrm>
          <a:prstGeom prst="rect">
            <a:avLst/>
          </a:prstGeom>
        </p:spPr>
      </p:pic>
      <p:pic>
        <p:nvPicPr>
          <p:cNvPr id="12" name="Grafik 11"/>
          <p:cNvPicPr>
            <a:picLocks noChangeAspect="1"/>
          </p:cNvPicPr>
          <p:nvPr>
            <p:custDataLst>
              <p:tags r:id="rId7"/>
            </p:custDataLst>
          </p:nvPr>
        </p:nvPicPr>
        <p:blipFill>
          <a:blip r:embed="rId21"/>
          <a:stretch>
            <a:fillRect/>
          </a:stretch>
        </p:blipFill>
        <p:spPr>
          <a:xfrm>
            <a:off x="-2793400" y="3817257"/>
            <a:ext cx="1999661" cy="2225233"/>
          </a:xfrm>
          <a:prstGeom prst="rect">
            <a:avLst/>
          </a:prstGeom>
        </p:spPr>
      </p:pic>
      <p:pic>
        <p:nvPicPr>
          <p:cNvPr id="15" name="Grafik 14"/>
          <p:cNvPicPr>
            <a:picLocks noChangeAspect="1"/>
          </p:cNvPicPr>
          <p:nvPr>
            <p:custDataLst>
              <p:tags r:id="rId8"/>
            </p:custDataLst>
          </p:nvPr>
        </p:nvPicPr>
        <p:blipFill rotWithShape="1">
          <a:blip r:embed="rId22"/>
          <a:srcRect l="3354" t="3051" r="19217" b="18100"/>
          <a:stretch/>
        </p:blipFill>
        <p:spPr>
          <a:xfrm>
            <a:off x="2447636" y="1616364"/>
            <a:ext cx="3435928" cy="2152072"/>
          </a:xfrm>
          <a:prstGeom prst="rect">
            <a:avLst/>
          </a:prstGeom>
        </p:spPr>
      </p:pic>
    </p:spTree>
    <p:extLst>
      <p:ext uri="{BB962C8B-B14F-4D97-AF65-F5344CB8AC3E}">
        <p14:creationId xmlns:p14="http://schemas.microsoft.com/office/powerpoint/2010/main" val="23802878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As a result of the, in our opinion, realistic forecasts of the management regarding the market launch of XX (Segment B) in 2013 it is plausible that the XXX AG sales growth is above that of the past and above market expectations. </a:t>
            </a:r>
          </a:p>
          <a:p>
            <a:r>
              <a:rPr lang="en-US" dirty="0" smtClean="0"/>
              <a:t>Additional sales growth In Segment B will lead to significant shifts in the product mix in the planning period.</a:t>
            </a:r>
            <a:endParaRPr lang="en-US" dirty="0"/>
          </a:p>
        </p:txBody>
      </p:sp>
      <p:sp>
        <p:nvSpPr>
          <p:cNvPr id="5" name="Textplatzhalter 4"/>
          <p:cNvSpPr>
            <a:spLocks noGrp="1"/>
          </p:cNvSpPr>
          <p:nvPr>
            <p:ph type="body" sz="quarter" idx="12"/>
          </p:nvPr>
        </p:nvSpPr>
        <p:spPr>
          <a:xfrm>
            <a:off x="6537324" y="1422400"/>
            <a:ext cx="2893365" cy="4604400"/>
          </a:xfrm>
        </p:spPr>
        <p:txBody>
          <a:bodyPr/>
          <a:lstStyle/>
          <a:p>
            <a:r>
              <a:rPr lang="en-US" dirty="0" smtClean="0"/>
              <a:t>Sales</a:t>
            </a:r>
          </a:p>
          <a:p>
            <a:pPr lvl="2"/>
            <a:r>
              <a:rPr lang="en-US" dirty="0" smtClean="0"/>
              <a:t>The XXX AG currently obtains about half of their sales in Segment A. This segment will remain the largest sales contributor in the course of the planning. Segments B and D contribute only X% or X% to total sales at the beginning of the planning period.</a:t>
            </a:r>
          </a:p>
          <a:p>
            <a:pPr lvl="2"/>
            <a:r>
              <a:rPr lang="en-US" dirty="0" smtClean="0"/>
              <a:t>The XXX AG expects to increase its average sales growth in the next few years compared to the past from X% to X% and therefore is above/below the segment-weighted market growth of X% in the planning period. The causes for this are xxx and xxx in segments A and B.</a:t>
            </a:r>
          </a:p>
          <a:p>
            <a:pPr lvl="2"/>
            <a:r>
              <a:rPr lang="en-US" dirty="0" smtClean="0"/>
              <a:t>[.... Details on material aspects of segments A and C ....]</a:t>
            </a:r>
          </a:p>
          <a:p>
            <a:pPr lvl="2"/>
            <a:r>
              <a:rPr lang="en-US" dirty="0" smtClean="0"/>
              <a:t>As a result of the expected average sales growth of X% in Segment B, the product mix will shift significantly with simultaneous negative growth expectations in Segment D as a result of xxx. Material growth driver in Segment B is the launch of Product XX in 2013, whereby the decline in Segment D should be significantly overcompensated.</a:t>
            </a:r>
            <a:endParaRPr lang="en-US" dirty="0"/>
          </a:p>
        </p:txBody>
      </p:sp>
      <p:sp>
        <p:nvSpPr>
          <p:cNvPr id="4" name="Titel 3"/>
          <p:cNvSpPr>
            <a:spLocks noGrp="1"/>
          </p:cNvSpPr>
          <p:nvPr>
            <p:ph type="title"/>
          </p:nvPr>
        </p:nvSpPr>
        <p:spPr/>
        <p:txBody>
          <a:bodyPr/>
          <a:lstStyle/>
          <a:p>
            <a:r>
              <a:rPr lang="en-US" dirty="0"/>
              <a:t>2. Which products/product groups/regions/segments have the greatest importance for sales/gross profit over time? (1/2)</a:t>
            </a:r>
          </a:p>
        </p:txBody>
      </p:sp>
      <p:sp>
        <p:nvSpPr>
          <p:cNvPr id="3" name="Textplatzhalter 2"/>
          <p:cNvSpPr>
            <a:spLocks noGrp="1"/>
          </p:cNvSpPr>
          <p:nvPr>
            <p:ph type="body" sz="quarter" idx="13"/>
          </p:nvPr>
        </p:nvSpPr>
        <p:spPr/>
        <p:txBody>
          <a:bodyPr/>
          <a:lstStyle/>
          <a:p>
            <a:r>
              <a:rPr lang="en-US" dirty="0"/>
              <a:t>Sales and Gross Profit (Planning) </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15092311"/>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3">
            <a:duotone>
              <a:schemeClr val="bg2">
                <a:shade val="45000"/>
                <a:satMod val="135000"/>
              </a:schemeClr>
              <a:prstClr val="white"/>
            </a:duotone>
          </a:blip>
          <a:stretch>
            <a:fillRect/>
          </a:stretch>
        </p:blipFill>
        <p:spPr>
          <a:xfrm>
            <a:off x="7132320" y="5701816"/>
            <a:ext cx="340197" cy="405178"/>
          </a:xfrm>
          <a:prstGeom prst="rect">
            <a:avLst/>
          </a:prstGeom>
        </p:spPr>
      </p:pic>
      <p:pic>
        <p:nvPicPr>
          <p:cNvPr id="20" name="Grafik 19"/>
          <p:cNvPicPr>
            <a:picLocks noChangeAspect="1"/>
          </p:cNvPicPr>
          <p:nvPr/>
        </p:nvPicPr>
        <p:blipFill>
          <a:blip r:embed="rId14"/>
          <a:stretch>
            <a:fillRect/>
          </a:stretch>
        </p:blipFill>
        <p:spPr>
          <a:xfrm>
            <a:off x="7415936" y="5701816"/>
            <a:ext cx="340197" cy="405178"/>
          </a:xfrm>
          <a:prstGeom prst="rect">
            <a:avLst/>
          </a:prstGeom>
        </p:spPr>
      </p:pic>
      <p:pic>
        <p:nvPicPr>
          <p:cNvPr id="21" name="Grafik 20"/>
          <p:cNvPicPr>
            <a:picLocks noChangeAspect="1"/>
          </p:cNvPicPr>
          <p:nvPr/>
        </p:nvPicPr>
        <p:blipFill>
          <a:blip r:embed="rId15">
            <a:duotone>
              <a:schemeClr val="bg2">
                <a:shade val="45000"/>
                <a:satMod val="135000"/>
              </a:schemeClr>
              <a:prstClr val="white"/>
            </a:duotone>
          </a:blip>
          <a:stretch>
            <a:fillRect/>
          </a:stretch>
        </p:blipFill>
        <p:spPr>
          <a:xfrm>
            <a:off x="7699552" y="5701816"/>
            <a:ext cx="340197" cy="405178"/>
          </a:xfrm>
          <a:prstGeom prst="rect">
            <a:avLst/>
          </a:prstGeom>
        </p:spPr>
      </p:pic>
      <p:pic>
        <p:nvPicPr>
          <p:cNvPr id="22" name="Grafik 21"/>
          <p:cNvPicPr>
            <a:picLocks noChangeAspect="1"/>
          </p:cNvPicPr>
          <p:nvPr/>
        </p:nvPicPr>
        <p:blipFill>
          <a:blip r:embed="rId16"/>
          <a:stretch>
            <a:fillRect/>
          </a:stretch>
        </p:blipFill>
        <p:spPr>
          <a:xfrm>
            <a:off x="7983168" y="5701816"/>
            <a:ext cx="340197" cy="405178"/>
          </a:xfrm>
          <a:prstGeom prst="rect">
            <a:avLst/>
          </a:prstGeom>
        </p:spPr>
      </p:pic>
      <p:pic>
        <p:nvPicPr>
          <p:cNvPr id="23" name="Grafik 22"/>
          <p:cNvPicPr>
            <a:picLocks noChangeAspect="1"/>
          </p:cNvPicPr>
          <p:nvPr/>
        </p:nvPicPr>
        <p:blipFill>
          <a:blip r:embed="rId17"/>
          <a:stretch>
            <a:fillRect/>
          </a:stretch>
        </p:blipFill>
        <p:spPr>
          <a:xfrm>
            <a:off x="8266784" y="5701816"/>
            <a:ext cx="340197" cy="405178"/>
          </a:xfrm>
          <a:prstGeom prst="rect">
            <a:avLst/>
          </a:prstGeom>
        </p:spPr>
      </p:pic>
      <p:pic>
        <p:nvPicPr>
          <p:cNvPr id="24" name="Grafik 23"/>
          <p:cNvPicPr>
            <a:picLocks noChangeAspect="1"/>
          </p:cNvPicPr>
          <p:nvPr/>
        </p:nvPicPr>
        <p:blipFill>
          <a:blip r:embed="rId18">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ales development according to segments</a:t>
            </a:r>
          </a:p>
        </p:txBody>
      </p:sp>
      <p:pic>
        <p:nvPicPr>
          <p:cNvPr id="30" name="Grafik 29"/>
          <p:cNvPicPr>
            <a:picLocks/>
          </p:cNvPicPr>
          <p:nvPr/>
        </p:nvPicPr>
        <p:blipFill>
          <a:blip r:embed="rId19">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20">
            <a:duotone>
              <a:schemeClr val="bg2">
                <a:shade val="45000"/>
                <a:satMod val="135000"/>
              </a:schemeClr>
              <a:prstClr val="white"/>
            </a:duotone>
          </a:blip>
          <a:stretch>
            <a:fillRect/>
          </a:stretch>
        </p:blipFill>
        <p:spPr>
          <a:xfrm>
            <a:off x="8834016" y="5701816"/>
            <a:ext cx="340197" cy="405178"/>
          </a:xfrm>
          <a:prstGeom prst="rect">
            <a:avLst/>
          </a:prstGeom>
        </p:spPr>
      </p:pic>
      <p:sp>
        <p:nvSpPr>
          <p:cNvPr id="40" name="Text Placeholder 12"/>
          <p:cNvSpPr txBox="1">
            <a:spLocks/>
          </p:cNvSpPr>
          <p:nvPr>
            <p:custDataLst>
              <p:tags r:id="rId3"/>
            </p:custDataLst>
          </p:nvPr>
        </p:nvSpPr>
        <p:spPr>
          <a:xfrm>
            <a:off x="2447922" y="3817257"/>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ales growth according to segments</a:t>
            </a:r>
          </a:p>
        </p:txBody>
      </p:sp>
      <p:pic>
        <p:nvPicPr>
          <p:cNvPr id="7" name="Grafik 6"/>
          <p:cNvPicPr>
            <a:picLocks noChangeAspect="1"/>
          </p:cNvPicPr>
          <p:nvPr>
            <p:custDataLst>
              <p:tags r:id="rId4"/>
            </p:custDataLst>
          </p:nvPr>
        </p:nvPicPr>
        <p:blipFill rotWithShape="1">
          <a:blip r:embed="rId21"/>
          <a:srcRect l="3439" t="11517" r="6527" b="19553"/>
          <a:stretch/>
        </p:blipFill>
        <p:spPr>
          <a:xfrm>
            <a:off x="2455816" y="1733005"/>
            <a:ext cx="3936275" cy="1680755"/>
          </a:xfrm>
          <a:prstGeom prst="rect">
            <a:avLst/>
          </a:prstGeom>
        </p:spPr>
      </p:pic>
      <p:grpSp>
        <p:nvGrpSpPr>
          <p:cNvPr id="25" name="Group 2"/>
          <p:cNvGrpSpPr/>
          <p:nvPr>
            <p:custDataLst>
              <p:tags r:id="rId5"/>
            </p:custDataLst>
          </p:nvPr>
        </p:nvGrpSpPr>
        <p:grpSpPr>
          <a:xfrm>
            <a:off x="2934790" y="1672500"/>
            <a:ext cx="2255520" cy="1427752"/>
            <a:chOff x="-755730" y="5561012"/>
            <a:chExt cx="2174657" cy="1624013"/>
          </a:xfrm>
        </p:grpSpPr>
        <p:sp>
          <p:nvSpPr>
            <p:cNvPr id="28" name="Rectangle 2"/>
            <p:cNvSpPr>
              <a:spLocks noChangeArrowheads="1"/>
            </p:cNvSpPr>
            <p:nvPr>
              <p:custDataLst>
                <p:tags r:id="rId9"/>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9" name="Rectangle 2"/>
            <p:cNvSpPr>
              <a:spLocks noChangeArrowheads="1"/>
            </p:cNvSpPr>
            <p:nvPr>
              <p:custDataLst>
                <p:tags r:id="rId10"/>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12" name="Grafik 11"/>
          <p:cNvPicPr>
            <a:picLocks noChangeAspect="1"/>
          </p:cNvPicPr>
          <p:nvPr>
            <p:custDataLst>
              <p:tags r:id="rId6"/>
            </p:custDataLst>
          </p:nvPr>
        </p:nvPicPr>
        <p:blipFill rotWithShape="1">
          <a:blip r:embed="rId22"/>
          <a:srcRect l="10521" t="4235" r="13606" b="2748"/>
          <a:stretch/>
        </p:blipFill>
        <p:spPr>
          <a:xfrm>
            <a:off x="2447108" y="3962400"/>
            <a:ext cx="4093029" cy="2063931"/>
          </a:xfrm>
          <a:prstGeom prst="rect">
            <a:avLst/>
          </a:prstGeom>
        </p:spPr>
      </p:pic>
      <p:pic>
        <p:nvPicPr>
          <p:cNvPr id="8" name="Grafik 7"/>
          <p:cNvPicPr>
            <a:picLocks noChangeAspect="1"/>
          </p:cNvPicPr>
          <p:nvPr>
            <p:custDataLst>
              <p:tags r:id="rId7"/>
            </p:custDataLst>
          </p:nvPr>
        </p:nvPicPr>
        <p:blipFill>
          <a:blip r:embed="rId23"/>
          <a:stretch>
            <a:fillRect/>
          </a:stretch>
        </p:blipFill>
        <p:spPr>
          <a:xfrm>
            <a:off x="-2665258" y="1422400"/>
            <a:ext cx="2024047" cy="2225233"/>
          </a:xfrm>
          <a:prstGeom prst="rect">
            <a:avLst/>
          </a:prstGeom>
        </p:spPr>
      </p:pic>
      <p:pic>
        <p:nvPicPr>
          <p:cNvPr id="11" name="Grafik 10"/>
          <p:cNvPicPr>
            <a:picLocks noChangeAspect="1"/>
          </p:cNvPicPr>
          <p:nvPr>
            <p:custDataLst>
              <p:tags r:id="rId8"/>
            </p:custDataLst>
          </p:nvPr>
        </p:nvPicPr>
        <p:blipFill>
          <a:blip r:embed="rId24"/>
          <a:stretch>
            <a:fillRect/>
          </a:stretch>
        </p:blipFill>
        <p:spPr>
          <a:xfrm>
            <a:off x="-2696181" y="3817257"/>
            <a:ext cx="2024047" cy="2225233"/>
          </a:xfrm>
          <a:prstGeom prst="rect">
            <a:avLst/>
          </a:prstGeom>
        </p:spPr>
      </p:pic>
    </p:spTree>
    <p:extLst>
      <p:ext uri="{BB962C8B-B14F-4D97-AF65-F5344CB8AC3E}">
        <p14:creationId xmlns:p14="http://schemas.microsoft.com/office/powerpoint/2010/main" val="15858153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The primary contribution to the gross profit of the XXX AG is provided by segments A and C in the entire period of the analysis.</a:t>
            </a:r>
          </a:p>
          <a:p>
            <a:r>
              <a:rPr lang="en-US" dirty="0" smtClean="0"/>
              <a:t>As a result of the expected increase in sales and the associated scale effects, at the end of the planning horizon, Segment B will also provide a significant contribution to the XXX AG gross profit </a:t>
            </a:r>
          </a:p>
          <a:p>
            <a:r>
              <a:rPr lang="en-US" dirty="0" smtClean="0"/>
              <a:t>The expected increase in the margin at the group level follows plausibly from the planned shifts of the product mix.</a:t>
            </a:r>
            <a:endParaRPr lang="en-US" dirty="0"/>
          </a:p>
        </p:txBody>
      </p:sp>
      <p:sp>
        <p:nvSpPr>
          <p:cNvPr id="5" name="Textplatzhalter 4"/>
          <p:cNvSpPr>
            <a:spLocks noGrp="1"/>
          </p:cNvSpPr>
          <p:nvPr>
            <p:ph type="body" sz="quarter" idx="12"/>
          </p:nvPr>
        </p:nvSpPr>
        <p:spPr>
          <a:xfrm>
            <a:off x="6537324" y="1422400"/>
            <a:ext cx="2893365" cy="4604400"/>
          </a:xfrm>
        </p:spPr>
        <p:txBody>
          <a:bodyPr/>
          <a:lstStyle/>
          <a:p>
            <a:r>
              <a:rPr lang="en-US" dirty="0" smtClean="0"/>
              <a:t>Gross profit and gross profit margin</a:t>
            </a:r>
          </a:p>
          <a:p>
            <a:pPr lvl="2"/>
            <a:r>
              <a:rPr lang="en-US" dirty="0" smtClean="0"/>
              <a:t>Segments A and C provide the major contribution to the XXX AG gross profit. While this is attributable to high sales for Segment A, for Segment C, in which the XXX AG service business is bundled, the high gross profit margin is the cause.</a:t>
            </a:r>
          </a:p>
          <a:p>
            <a:pPr lvl="2"/>
            <a:r>
              <a:rPr lang="en-US" dirty="0" smtClean="0"/>
              <a:t>A, for the most part, stable gross profit margin is expected for Segment A in the planning period. Expected cost increases in raw material should be passed on completely to the customers.</a:t>
            </a:r>
          </a:p>
          <a:p>
            <a:pPr lvl="2"/>
            <a:r>
              <a:rPr lang="en-US" dirty="0" smtClean="0"/>
              <a:t>An increase of the gross profit margin is expected in the planning period for Segment C. A reduction of the manufacturing costs will be achieved by an optimization of the production processes in Plant X.</a:t>
            </a:r>
          </a:p>
          <a:p>
            <a:pPr lvl="2"/>
            <a:r>
              <a:rPr lang="en-US" dirty="0" smtClean="0"/>
              <a:t>Along with a significant increase in sales, a significant increase of the gross profit margin is expected for Segment B. The reason for this is major savings in purchasing as a result of the increased procurement volumes.</a:t>
            </a:r>
          </a:p>
          <a:p>
            <a:pPr lvl="2"/>
            <a:r>
              <a:rPr lang="en-US" dirty="0" smtClean="0"/>
              <a:t>Segment D is of minor importance for the development of the gross profit.</a:t>
            </a:r>
            <a:endParaRPr lang="en-US" dirty="0"/>
          </a:p>
        </p:txBody>
      </p:sp>
      <p:sp>
        <p:nvSpPr>
          <p:cNvPr id="4" name="Titel 3"/>
          <p:cNvSpPr>
            <a:spLocks noGrp="1"/>
          </p:cNvSpPr>
          <p:nvPr>
            <p:ph type="title"/>
          </p:nvPr>
        </p:nvSpPr>
        <p:spPr/>
        <p:txBody>
          <a:bodyPr/>
          <a:lstStyle/>
          <a:p>
            <a:r>
              <a:rPr lang="en-US" dirty="0"/>
              <a:t>2. Which products/product groups/regions/segments have the greatest importance for sales/gross profit over time? </a:t>
            </a:r>
            <a:r>
              <a:rPr lang="en-US" dirty="0" smtClean="0"/>
              <a:t>(2/2</a:t>
            </a:r>
            <a:r>
              <a:rPr lang="en-US" dirty="0"/>
              <a:t>)</a:t>
            </a:r>
          </a:p>
        </p:txBody>
      </p:sp>
      <p:sp>
        <p:nvSpPr>
          <p:cNvPr id="3" name="Textplatzhalter 2"/>
          <p:cNvSpPr>
            <a:spLocks noGrp="1"/>
          </p:cNvSpPr>
          <p:nvPr>
            <p:ph type="body" sz="quarter" idx="13"/>
          </p:nvPr>
        </p:nvSpPr>
        <p:spPr/>
        <p:txBody>
          <a:bodyPr/>
          <a:lstStyle/>
          <a:p>
            <a:r>
              <a:rPr lang="en-US" dirty="0"/>
              <a:t>Sales and Gross Profit (Planning) </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3915559918"/>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3">
            <a:duotone>
              <a:schemeClr val="bg2">
                <a:shade val="45000"/>
                <a:satMod val="135000"/>
              </a:schemeClr>
              <a:prstClr val="white"/>
            </a:duotone>
          </a:blip>
          <a:stretch>
            <a:fillRect/>
          </a:stretch>
        </p:blipFill>
        <p:spPr>
          <a:xfrm>
            <a:off x="7132320" y="5701816"/>
            <a:ext cx="340197" cy="405178"/>
          </a:xfrm>
          <a:prstGeom prst="rect">
            <a:avLst/>
          </a:prstGeom>
        </p:spPr>
      </p:pic>
      <p:pic>
        <p:nvPicPr>
          <p:cNvPr id="20" name="Grafik 19"/>
          <p:cNvPicPr>
            <a:picLocks noChangeAspect="1"/>
          </p:cNvPicPr>
          <p:nvPr/>
        </p:nvPicPr>
        <p:blipFill>
          <a:blip r:embed="rId14"/>
          <a:stretch>
            <a:fillRect/>
          </a:stretch>
        </p:blipFill>
        <p:spPr>
          <a:xfrm>
            <a:off x="7415936" y="5701816"/>
            <a:ext cx="340197" cy="405178"/>
          </a:xfrm>
          <a:prstGeom prst="rect">
            <a:avLst/>
          </a:prstGeom>
        </p:spPr>
      </p:pic>
      <p:pic>
        <p:nvPicPr>
          <p:cNvPr id="21" name="Grafik 20"/>
          <p:cNvPicPr>
            <a:picLocks noChangeAspect="1"/>
          </p:cNvPicPr>
          <p:nvPr/>
        </p:nvPicPr>
        <p:blipFill>
          <a:blip r:embed="rId15">
            <a:duotone>
              <a:schemeClr val="bg2">
                <a:shade val="45000"/>
                <a:satMod val="135000"/>
              </a:schemeClr>
              <a:prstClr val="white"/>
            </a:duotone>
          </a:blip>
          <a:stretch>
            <a:fillRect/>
          </a:stretch>
        </p:blipFill>
        <p:spPr>
          <a:xfrm>
            <a:off x="7699552" y="5701816"/>
            <a:ext cx="340197" cy="405178"/>
          </a:xfrm>
          <a:prstGeom prst="rect">
            <a:avLst/>
          </a:prstGeom>
        </p:spPr>
      </p:pic>
      <p:pic>
        <p:nvPicPr>
          <p:cNvPr id="22" name="Grafik 21"/>
          <p:cNvPicPr>
            <a:picLocks noChangeAspect="1"/>
          </p:cNvPicPr>
          <p:nvPr/>
        </p:nvPicPr>
        <p:blipFill>
          <a:blip r:embed="rId16"/>
          <a:stretch>
            <a:fillRect/>
          </a:stretch>
        </p:blipFill>
        <p:spPr>
          <a:xfrm>
            <a:off x="7983168" y="5701816"/>
            <a:ext cx="340197" cy="405178"/>
          </a:xfrm>
          <a:prstGeom prst="rect">
            <a:avLst/>
          </a:prstGeom>
        </p:spPr>
      </p:pic>
      <p:pic>
        <p:nvPicPr>
          <p:cNvPr id="23" name="Grafik 22"/>
          <p:cNvPicPr>
            <a:picLocks noChangeAspect="1"/>
          </p:cNvPicPr>
          <p:nvPr/>
        </p:nvPicPr>
        <p:blipFill>
          <a:blip r:embed="rId17"/>
          <a:stretch>
            <a:fillRect/>
          </a:stretch>
        </p:blipFill>
        <p:spPr>
          <a:xfrm>
            <a:off x="8266784" y="5701816"/>
            <a:ext cx="340197" cy="405178"/>
          </a:xfrm>
          <a:prstGeom prst="rect">
            <a:avLst/>
          </a:prstGeom>
        </p:spPr>
      </p:pic>
      <p:pic>
        <p:nvPicPr>
          <p:cNvPr id="24" name="Grafik 23"/>
          <p:cNvPicPr>
            <a:picLocks noChangeAspect="1"/>
          </p:cNvPicPr>
          <p:nvPr/>
        </p:nvPicPr>
        <p:blipFill>
          <a:blip r:embed="rId18">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velopment of the gross profit according to segments</a:t>
            </a:r>
          </a:p>
        </p:txBody>
      </p:sp>
      <p:pic>
        <p:nvPicPr>
          <p:cNvPr id="30" name="Grafik 29"/>
          <p:cNvPicPr>
            <a:picLocks/>
          </p:cNvPicPr>
          <p:nvPr/>
        </p:nvPicPr>
        <p:blipFill>
          <a:blip r:embed="rId19">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20">
            <a:duotone>
              <a:schemeClr val="bg2">
                <a:shade val="45000"/>
                <a:satMod val="135000"/>
              </a:schemeClr>
              <a:prstClr val="white"/>
            </a:duotone>
          </a:blip>
          <a:stretch>
            <a:fillRect/>
          </a:stretch>
        </p:blipFill>
        <p:spPr>
          <a:xfrm>
            <a:off x="8834016" y="5701816"/>
            <a:ext cx="340197" cy="405178"/>
          </a:xfrm>
          <a:prstGeom prst="rect">
            <a:avLst/>
          </a:prstGeom>
        </p:spPr>
      </p:pic>
      <p:sp>
        <p:nvSpPr>
          <p:cNvPr id="40" name="Text Placeholder 12"/>
          <p:cNvSpPr txBox="1">
            <a:spLocks/>
          </p:cNvSpPr>
          <p:nvPr>
            <p:custDataLst>
              <p:tags r:id="rId3"/>
            </p:custDataLst>
          </p:nvPr>
        </p:nvSpPr>
        <p:spPr>
          <a:xfrm>
            <a:off x="2447922" y="3817257"/>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ales/Gross profit margin according to segments</a:t>
            </a:r>
          </a:p>
        </p:txBody>
      </p:sp>
      <p:grpSp>
        <p:nvGrpSpPr>
          <p:cNvPr id="25" name="Group 2"/>
          <p:cNvGrpSpPr/>
          <p:nvPr>
            <p:custDataLst>
              <p:tags r:id="rId4"/>
            </p:custDataLst>
          </p:nvPr>
        </p:nvGrpSpPr>
        <p:grpSpPr>
          <a:xfrm>
            <a:off x="2943499" y="1707336"/>
            <a:ext cx="2255520" cy="1427752"/>
            <a:chOff x="-755730" y="5561012"/>
            <a:chExt cx="2174657" cy="1624013"/>
          </a:xfrm>
        </p:grpSpPr>
        <p:sp>
          <p:nvSpPr>
            <p:cNvPr id="28" name="Rectangle 2"/>
            <p:cNvSpPr>
              <a:spLocks noChangeArrowheads="1"/>
            </p:cNvSpPr>
            <p:nvPr>
              <p:custDataLst>
                <p:tags r:id="rId9"/>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9" name="Rectangle 2"/>
            <p:cNvSpPr>
              <a:spLocks noChangeArrowheads="1"/>
            </p:cNvSpPr>
            <p:nvPr>
              <p:custDataLst>
                <p:tags r:id="rId10"/>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2" name="Grafik 1"/>
          <p:cNvPicPr>
            <a:picLocks noChangeAspect="1"/>
          </p:cNvPicPr>
          <p:nvPr>
            <p:custDataLst>
              <p:tags r:id="rId5"/>
            </p:custDataLst>
          </p:nvPr>
        </p:nvPicPr>
        <p:blipFill rotWithShape="1">
          <a:blip r:embed="rId21"/>
          <a:srcRect l="2620" t="11269" r="4924" b="21006"/>
          <a:stretch/>
        </p:blipFill>
        <p:spPr>
          <a:xfrm>
            <a:off x="2429691" y="1715589"/>
            <a:ext cx="4040778" cy="1750422"/>
          </a:xfrm>
          <a:prstGeom prst="rect">
            <a:avLst/>
          </a:prstGeom>
        </p:spPr>
      </p:pic>
      <p:pic>
        <p:nvPicPr>
          <p:cNvPr id="8" name="Grafik 7"/>
          <p:cNvPicPr>
            <a:picLocks noChangeAspect="1"/>
          </p:cNvPicPr>
          <p:nvPr>
            <p:custDataLst>
              <p:tags r:id="rId6"/>
            </p:custDataLst>
          </p:nvPr>
        </p:nvPicPr>
        <p:blipFill>
          <a:blip r:embed="rId22"/>
          <a:stretch>
            <a:fillRect/>
          </a:stretch>
        </p:blipFill>
        <p:spPr>
          <a:xfrm>
            <a:off x="-2652687" y="1422400"/>
            <a:ext cx="2024047" cy="2225233"/>
          </a:xfrm>
          <a:prstGeom prst="rect">
            <a:avLst/>
          </a:prstGeom>
        </p:spPr>
      </p:pic>
      <p:pic>
        <p:nvPicPr>
          <p:cNvPr id="15" name="Grafik 14"/>
          <p:cNvPicPr>
            <a:picLocks noChangeAspect="1"/>
          </p:cNvPicPr>
          <p:nvPr>
            <p:custDataLst>
              <p:tags r:id="rId7"/>
            </p:custDataLst>
          </p:nvPr>
        </p:nvPicPr>
        <p:blipFill>
          <a:blip r:embed="rId23"/>
          <a:stretch>
            <a:fillRect/>
          </a:stretch>
        </p:blipFill>
        <p:spPr>
          <a:xfrm>
            <a:off x="-2629137" y="3789778"/>
            <a:ext cx="1975275" cy="2219136"/>
          </a:xfrm>
          <a:prstGeom prst="rect">
            <a:avLst/>
          </a:prstGeom>
        </p:spPr>
      </p:pic>
      <p:pic>
        <p:nvPicPr>
          <p:cNvPr id="18" name="Grafik 17"/>
          <p:cNvPicPr>
            <a:picLocks noChangeAspect="1"/>
          </p:cNvPicPr>
          <p:nvPr>
            <p:custDataLst>
              <p:tags r:id="rId8"/>
            </p:custDataLst>
          </p:nvPr>
        </p:nvPicPr>
        <p:blipFill>
          <a:blip r:embed="rId24"/>
          <a:stretch>
            <a:fillRect/>
          </a:stretch>
        </p:blipFill>
        <p:spPr>
          <a:xfrm>
            <a:off x="2306523" y="3789778"/>
            <a:ext cx="3905721" cy="2657761"/>
          </a:xfrm>
          <a:prstGeom prst="rect">
            <a:avLst/>
          </a:prstGeom>
        </p:spPr>
      </p:pic>
    </p:spTree>
    <p:extLst>
      <p:ext uri="{BB962C8B-B14F-4D97-AF65-F5344CB8AC3E}">
        <p14:creationId xmlns:p14="http://schemas.microsoft.com/office/powerpoint/2010/main" val="8826153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The primary contribution to the gross profit of the XXX AG is provided by segments A and C in the entire period of the analysis.</a:t>
            </a:r>
          </a:p>
          <a:p>
            <a:r>
              <a:rPr lang="en-US" dirty="0" smtClean="0"/>
              <a:t>As a result of the expected increase in sales and the associated scale effects, at the end of the planning horizon, Segment B will also provide a significant contribution to the XXX AG gross profit </a:t>
            </a:r>
          </a:p>
          <a:p>
            <a:r>
              <a:rPr lang="en-US" dirty="0" smtClean="0"/>
              <a:t>The expected increase in the margin at the group level follows plausibly from the planned shifts of the product mix.</a:t>
            </a:r>
            <a:endParaRPr lang="en-US" dirty="0"/>
          </a:p>
        </p:txBody>
      </p:sp>
      <p:sp>
        <p:nvSpPr>
          <p:cNvPr id="5" name="Textplatzhalter 4"/>
          <p:cNvSpPr>
            <a:spLocks noGrp="1"/>
          </p:cNvSpPr>
          <p:nvPr>
            <p:ph type="body" sz="quarter" idx="12"/>
          </p:nvPr>
        </p:nvSpPr>
        <p:spPr>
          <a:xfrm>
            <a:off x="6537324" y="1422400"/>
            <a:ext cx="2893365" cy="4604400"/>
          </a:xfrm>
        </p:spPr>
        <p:txBody>
          <a:bodyPr/>
          <a:lstStyle/>
          <a:p>
            <a:r>
              <a:rPr lang="en-US" dirty="0" smtClean="0"/>
              <a:t>Gross profit and gross profit margin</a:t>
            </a:r>
          </a:p>
          <a:p>
            <a:pPr lvl="2"/>
            <a:r>
              <a:rPr lang="en-US" dirty="0" smtClean="0"/>
              <a:t>Segments A and C provide the major contribution to the XXX AG gross profit. While this is attributable to high sales for Segment A, for Segment C, in which the XXX AG service business is bundled, the high gross profit margin is the cause.</a:t>
            </a:r>
          </a:p>
          <a:p>
            <a:pPr lvl="2"/>
            <a:r>
              <a:rPr lang="en-US" dirty="0" smtClean="0"/>
              <a:t>A, for the most part, stable gross profit margin is expected for Segment A in the planning period. Expected cost increases in raw material should be passed on completely to the customers.</a:t>
            </a:r>
          </a:p>
          <a:p>
            <a:pPr lvl="2"/>
            <a:r>
              <a:rPr lang="en-US" dirty="0" smtClean="0"/>
              <a:t>An increase of the gross profit margin is expected in the planning period for Segment C. A reduction of the manufacturing costs will be achieved by an optimization of the production processes in Plant X.</a:t>
            </a:r>
          </a:p>
          <a:p>
            <a:pPr lvl="2"/>
            <a:r>
              <a:rPr lang="en-US" dirty="0" smtClean="0"/>
              <a:t>Along with a significant increase in sales, a significant increase of the gross profit margin is expected for Segment B. The reason for this is major savings in purchasing as a result of the increased procurement volumes.</a:t>
            </a:r>
          </a:p>
          <a:p>
            <a:pPr lvl="2"/>
            <a:r>
              <a:rPr lang="en-US" dirty="0" smtClean="0"/>
              <a:t>Segment D is of minor importance for the development of the gross profit.</a:t>
            </a:r>
            <a:endParaRPr lang="en-US" dirty="0"/>
          </a:p>
        </p:txBody>
      </p:sp>
      <p:sp>
        <p:nvSpPr>
          <p:cNvPr id="4" name="Titel 3"/>
          <p:cNvSpPr>
            <a:spLocks noGrp="1"/>
          </p:cNvSpPr>
          <p:nvPr>
            <p:ph type="title"/>
          </p:nvPr>
        </p:nvSpPr>
        <p:spPr/>
        <p:txBody>
          <a:bodyPr/>
          <a:lstStyle/>
          <a:p>
            <a:r>
              <a:rPr lang="en-US" dirty="0"/>
              <a:t>2. Which products/product groups/regions/segments have the greatest importance for sales/gross profit over time? </a:t>
            </a:r>
            <a:r>
              <a:rPr lang="en-US" dirty="0" smtClean="0"/>
              <a:t>(1/3) (Alternative)</a:t>
            </a:r>
            <a:endParaRPr lang="en-US" dirty="0"/>
          </a:p>
        </p:txBody>
      </p:sp>
      <p:sp>
        <p:nvSpPr>
          <p:cNvPr id="3" name="Textplatzhalter 2"/>
          <p:cNvSpPr>
            <a:spLocks noGrp="1"/>
          </p:cNvSpPr>
          <p:nvPr>
            <p:ph type="body" sz="quarter" idx="13"/>
          </p:nvPr>
        </p:nvSpPr>
        <p:spPr/>
        <p:txBody>
          <a:bodyPr/>
          <a:lstStyle/>
          <a:p>
            <a:r>
              <a:rPr lang="en-US" dirty="0"/>
              <a:t>Sales and Gross Profit (Planning) </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26364982"/>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3">
            <a:duotone>
              <a:schemeClr val="bg2">
                <a:shade val="45000"/>
                <a:satMod val="135000"/>
              </a:schemeClr>
              <a:prstClr val="white"/>
            </a:duotone>
          </a:blip>
          <a:stretch>
            <a:fillRect/>
          </a:stretch>
        </p:blipFill>
        <p:spPr>
          <a:xfrm>
            <a:off x="7132320" y="5701816"/>
            <a:ext cx="340197" cy="405178"/>
          </a:xfrm>
          <a:prstGeom prst="rect">
            <a:avLst/>
          </a:prstGeom>
        </p:spPr>
      </p:pic>
      <p:pic>
        <p:nvPicPr>
          <p:cNvPr id="20" name="Grafik 19"/>
          <p:cNvPicPr>
            <a:picLocks noChangeAspect="1"/>
          </p:cNvPicPr>
          <p:nvPr/>
        </p:nvPicPr>
        <p:blipFill>
          <a:blip r:embed="rId14"/>
          <a:stretch>
            <a:fillRect/>
          </a:stretch>
        </p:blipFill>
        <p:spPr>
          <a:xfrm>
            <a:off x="7415936" y="5701816"/>
            <a:ext cx="340197" cy="405178"/>
          </a:xfrm>
          <a:prstGeom prst="rect">
            <a:avLst/>
          </a:prstGeom>
        </p:spPr>
      </p:pic>
      <p:pic>
        <p:nvPicPr>
          <p:cNvPr id="21" name="Grafik 20"/>
          <p:cNvPicPr>
            <a:picLocks noChangeAspect="1"/>
          </p:cNvPicPr>
          <p:nvPr/>
        </p:nvPicPr>
        <p:blipFill>
          <a:blip r:embed="rId15">
            <a:duotone>
              <a:schemeClr val="bg2">
                <a:shade val="45000"/>
                <a:satMod val="135000"/>
              </a:schemeClr>
              <a:prstClr val="white"/>
            </a:duotone>
          </a:blip>
          <a:stretch>
            <a:fillRect/>
          </a:stretch>
        </p:blipFill>
        <p:spPr>
          <a:xfrm>
            <a:off x="7699552" y="5701816"/>
            <a:ext cx="340197" cy="405178"/>
          </a:xfrm>
          <a:prstGeom prst="rect">
            <a:avLst/>
          </a:prstGeom>
        </p:spPr>
      </p:pic>
      <p:pic>
        <p:nvPicPr>
          <p:cNvPr id="22" name="Grafik 21"/>
          <p:cNvPicPr>
            <a:picLocks noChangeAspect="1"/>
          </p:cNvPicPr>
          <p:nvPr/>
        </p:nvPicPr>
        <p:blipFill>
          <a:blip r:embed="rId16"/>
          <a:stretch>
            <a:fillRect/>
          </a:stretch>
        </p:blipFill>
        <p:spPr>
          <a:xfrm>
            <a:off x="7983168" y="5701816"/>
            <a:ext cx="340197" cy="405178"/>
          </a:xfrm>
          <a:prstGeom prst="rect">
            <a:avLst/>
          </a:prstGeom>
        </p:spPr>
      </p:pic>
      <p:pic>
        <p:nvPicPr>
          <p:cNvPr id="23" name="Grafik 22"/>
          <p:cNvPicPr>
            <a:picLocks noChangeAspect="1"/>
          </p:cNvPicPr>
          <p:nvPr/>
        </p:nvPicPr>
        <p:blipFill>
          <a:blip r:embed="rId17"/>
          <a:stretch>
            <a:fillRect/>
          </a:stretch>
        </p:blipFill>
        <p:spPr>
          <a:xfrm>
            <a:off x="8266784" y="5701816"/>
            <a:ext cx="340197" cy="405178"/>
          </a:xfrm>
          <a:prstGeom prst="rect">
            <a:avLst/>
          </a:prstGeom>
        </p:spPr>
      </p:pic>
      <p:pic>
        <p:nvPicPr>
          <p:cNvPr id="24" name="Grafik 23"/>
          <p:cNvPicPr>
            <a:picLocks noChangeAspect="1"/>
          </p:cNvPicPr>
          <p:nvPr/>
        </p:nvPicPr>
        <p:blipFill>
          <a:blip r:embed="rId18">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Gross profit and gross profit margin</a:t>
            </a:r>
          </a:p>
        </p:txBody>
      </p:sp>
      <p:pic>
        <p:nvPicPr>
          <p:cNvPr id="30" name="Grafik 29"/>
          <p:cNvPicPr>
            <a:picLocks/>
          </p:cNvPicPr>
          <p:nvPr/>
        </p:nvPicPr>
        <p:blipFill>
          <a:blip r:embed="rId19">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20">
            <a:duotone>
              <a:schemeClr val="bg2">
                <a:shade val="45000"/>
                <a:satMod val="135000"/>
              </a:schemeClr>
              <a:prstClr val="white"/>
            </a:duotone>
          </a:blip>
          <a:stretch>
            <a:fillRect/>
          </a:stretch>
        </p:blipFill>
        <p:spPr>
          <a:xfrm>
            <a:off x="8834016" y="5701816"/>
            <a:ext cx="340197" cy="405178"/>
          </a:xfrm>
          <a:prstGeom prst="rect">
            <a:avLst/>
          </a:prstGeom>
        </p:spPr>
      </p:pic>
      <p:sp>
        <p:nvSpPr>
          <p:cNvPr id="40" name="Text Placeholder 12"/>
          <p:cNvSpPr txBox="1">
            <a:spLocks/>
          </p:cNvSpPr>
          <p:nvPr>
            <p:custDataLst>
              <p:tags r:id="rId3"/>
            </p:custDataLst>
          </p:nvPr>
        </p:nvSpPr>
        <p:spPr>
          <a:xfrm>
            <a:off x="2447922" y="3817257"/>
            <a:ext cx="3896130"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AGR Sales/ø Gross profit margin (3 </a:t>
            </a:r>
            <a:r>
              <a:rPr lang="en-US" sz="900" kern="0" dirty="0" smtClean="0">
                <a:latin typeface="Arial" panose="020B0604020202020204" pitchFamily="34" charset="0"/>
                <a:cs typeface="Arial" panose="020B0604020202020204" pitchFamily="34" charset="0"/>
              </a:rPr>
              <a:t>years) according </a:t>
            </a:r>
            <a:r>
              <a:rPr lang="en-US" sz="900" kern="0" dirty="0">
                <a:latin typeface="Arial" panose="020B0604020202020204" pitchFamily="34" charset="0"/>
                <a:cs typeface="Arial" panose="020B0604020202020204" pitchFamily="34" charset="0"/>
              </a:rPr>
              <a:t>to segments</a:t>
            </a:r>
          </a:p>
        </p:txBody>
      </p:sp>
      <p:grpSp>
        <p:nvGrpSpPr>
          <p:cNvPr id="25" name="Group 2"/>
          <p:cNvGrpSpPr/>
          <p:nvPr>
            <p:custDataLst>
              <p:tags r:id="rId4"/>
            </p:custDataLst>
          </p:nvPr>
        </p:nvGrpSpPr>
        <p:grpSpPr>
          <a:xfrm>
            <a:off x="2943499" y="1707336"/>
            <a:ext cx="2168432" cy="1201327"/>
            <a:chOff x="-755730" y="5561012"/>
            <a:chExt cx="2174657" cy="1624013"/>
          </a:xfrm>
        </p:grpSpPr>
        <p:sp>
          <p:nvSpPr>
            <p:cNvPr id="28" name="Rectangle 2"/>
            <p:cNvSpPr>
              <a:spLocks noChangeArrowheads="1"/>
            </p:cNvSpPr>
            <p:nvPr>
              <p:custDataLst>
                <p:tags r:id="rId9"/>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9" name="Rectangle 2"/>
            <p:cNvSpPr>
              <a:spLocks noChangeArrowheads="1"/>
            </p:cNvSpPr>
            <p:nvPr>
              <p:custDataLst>
                <p:tags r:id="rId10"/>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16" name="Grafik 15"/>
          <p:cNvPicPr>
            <a:picLocks noChangeAspect="1"/>
          </p:cNvPicPr>
          <p:nvPr>
            <p:custDataLst>
              <p:tags r:id="rId5"/>
            </p:custDataLst>
          </p:nvPr>
        </p:nvPicPr>
        <p:blipFill rotWithShape="1">
          <a:blip r:embed="rId21"/>
          <a:srcRect t="4315" b="17271"/>
          <a:stretch/>
        </p:blipFill>
        <p:spPr>
          <a:xfrm>
            <a:off x="2534336" y="3979817"/>
            <a:ext cx="3809716" cy="2029097"/>
          </a:xfrm>
          <a:prstGeom prst="rect">
            <a:avLst/>
          </a:prstGeom>
        </p:spPr>
      </p:pic>
      <p:sp>
        <p:nvSpPr>
          <p:cNvPr id="27" name="Textfeld 26"/>
          <p:cNvSpPr txBox="1"/>
          <p:nvPr/>
        </p:nvSpPr>
        <p:spPr>
          <a:xfrm rot="16200000">
            <a:off x="1828956" y="4597200"/>
            <a:ext cx="1604099" cy="369332"/>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spAutoFit/>
          </a:bodyPr>
          <a:lstStyle/>
          <a:p>
            <a:pPr algn="ctr"/>
            <a:r>
              <a:rPr lang="en-US" sz="800" b="1" dirty="0" smtClean="0">
                <a:latin typeface="Arial" pitchFamily="34" charset="0"/>
                <a:cs typeface="Arial" pitchFamily="34" charset="0"/>
              </a:rPr>
              <a:t>Alternative presentation:</a:t>
            </a:r>
          </a:p>
          <a:p>
            <a:pPr algn="ctr"/>
            <a:r>
              <a:rPr lang="en-US" sz="800" b="1" dirty="0" smtClean="0">
                <a:latin typeface="Arial" pitchFamily="34" charset="0"/>
                <a:cs typeface="Arial" pitchFamily="34" charset="0"/>
              </a:rPr>
              <a:t>Average sales growth </a:t>
            </a:r>
            <a:br>
              <a:rPr lang="en-US" sz="800" b="1" dirty="0" smtClean="0">
                <a:latin typeface="Arial" pitchFamily="34" charset="0"/>
                <a:cs typeface="Arial" pitchFamily="34" charset="0"/>
              </a:rPr>
            </a:br>
            <a:r>
              <a:rPr lang="en-US" sz="800" b="1" dirty="0" smtClean="0">
                <a:latin typeface="Arial" pitchFamily="34" charset="0"/>
                <a:cs typeface="Arial" pitchFamily="34" charset="0"/>
              </a:rPr>
              <a:t>instead of sales</a:t>
            </a:r>
            <a:endParaRPr lang="en-US" sz="800" b="1" strike="sngStrike" dirty="0" smtClean="0">
              <a:solidFill>
                <a:srgbClr val="FF0000"/>
              </a:solidFill>
              <a:latin typeface="Arial" pitchFamily="34" charset="0"/>
              <a:cs typeface="Arial" pitchFamily="34" charset="0"/>
            </a:endParaRPr>
          </a:p>
        </p:txBody>
      </p:sp>
      <p:sp>
        <p:nvSpPr>
          <p:cNvPr id="32" name="Textfeld 31"/>
          <p:cNvSpPr txBox="1"/>
          <p:nvPr/>
        </p:nvSpPr>
        <p:spPr>
          <a:xfrm>
            <a:off x="2446338" y="3274662"/>
            <a:ext cx="3897714" cy="492443"/>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spAutoFit/>
          </a:bodyPr>
          <a:lstStyle/>
          <a:p>
            <a:pPr algn="ctr"/>
            <a:r>
              <a:rPr lang="en-US" sz="800" b="1" dirty="0" smtClean="0">
                <a:latin typeface="Arial" pitchFamily="34" charset="0"/>
                <a:cs typeface="Arial" pitchFamily="34" charset="0"/>
              </a:rPr>
              <a:t>Alternative presentation:</a:t>
            </a:r>
          </a:p>
          <a:p>
            <a:pPr algn="ctr"/>
            <a:r>
              <a:rPr lang="en-US" sz="800" b="1" dirty="0" smtClean="0">
                <a:latin typeface="Arial" pitchFamily="34" charset="0"/>
                <a:cs typeface="Arial" pitchFamily="34" charset="0"/>
              </a:rPr>
              <a:t>Gross profit and margin over time</a:t>
            </a:r>
          </a:p>
          <a:p>
            <a:pPr algn="ctr"/>
            <a:r>
              <a:rPr lang="en-US" sz="800" b="1" dirty="0" smtClean="0">
                <a:latin typeface="Arial" pitchFamily="34" charset="0"/>
                <a:cs typeface="Arial" pitchFamily="34" charset="0"/>
              </a:rPr>
              <a:t>For purposes of readability the graph can be used if necessary for supplementing figures.</a:t>
            </a:r>
          </a:p>
        </p:txBody>
      </p:sp>
      <p:pic>
        <p:nvPicPr>
          <p:cNvPr id="7" name="Grafik 6"/>
          <p:cNvPicPr>
            <a:picLocks noChangeAspect="1"/>
          </p:cNvPicPr>
          <p:nvPr>
            <p:custDataLst>
              <p:tags r:id="rId6"/>
            </p:custDataLst>
          </p:nvPr>
        </p:nvPicPr>
        <p:blipFill rotWithShape="1">
          <a:blip r:embed="rId22"/>
          <a:srcRect l="1217" t="12105" r="20301" b="15271"/>
          <a:stretch/>
        </p:blipFill>
        <p:spPr>
          <a:xfrm>
            <a:off x="2447108" y="1750424"/>
            <a:ext cx="3587931" cy="1523999"/>
          </a:xfrm>
          <a:prstGeom prst="rect">
            <a:avLst/>
          </a:prstGeom>
        </p:spPr>
      </p:pic>
      <p:pic>
        <p:nvPicPr>
          <p:cNvPr id="8" name="Grafik 7"/>
          <p:cNvPicPr>
            <a:picLocks noChangeAspect="1"/>
          </p:cNvPicPr>
          <p:nvPr>
            <p:custDataLst>
              <p:tags r:id="rId7"/>
            </p:custDataLst>
          </p:nvPr>
        </p:nvPicPr>
        <p:blipFill>
          <a:blip r:embed="rId23"/>
          <a:stretch>
            <a:fillRect/>
          </a:stretch>
        </p:blipFill>
        <p:spPr>
          <a:xfrm>
            <a:off x="-2608272" y="3520883"/>
            <a:ext cx="2024047" cy="2225233"/>
          </a:xfrm>
          <a:prstGeom prst="rect">
            <a:avLst/>
          </a:prstGeom>
        </p:spPr>
      </p:pic>
      <p:pic>
        <p:nvPicPr>
          <p:cNvPr id="11" name="Grafik 10"/>
          <p:cNvPicPr>
            <a:picLocks noChangeAspect="1"/>
          </p:cNvPicPr>
          <p:nvPr>
            <p:custDataLst>
              <p:tags r:id="rId8"/>
            </p:custDataLst>
          </p:nvPr>
        </p:nvPicPr>
        <p:blipFill>
          <a:blip r:embed="rId24"/>
          <a:stretch>
            <a:fillRect/>
          </a:stretch>
        </p:blipFill>
        <p:spPr>
          <a:xfrm>
            <a:off x="-2608839" y="1177925"/>
            <a:ext cx="2024047" cy="2225233"/>
          </a:xfrm>
          <a:prstGeom prst="rect">
            <a:avLst/>
          </a:prstGeom>
        </p:spPr>
      </p:pic>
    </p:spTree>
    <p:extLst>
      <p:ext uri="{BB962C8B-B14F-4D97-AF65-F5344CB8AC3E}">
        <p14:creationId xmlns:p14="http://schemas.microsoft.com/office/powerpoint/2010/main" val="36610906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The primary contribution to the gross profit of the XXX AG is provided by segments A and C in the entire period of the analysis.</a:t>
            </a:r>
          </a:p>
          <a:p>
            <a:r>
              <a:rPr lang="en-US" dirty="0" smtClean="0"/>
              <a:t>As a result of the expected increase in sales and the associated scale effects, at the end of the planning horizon, Segment B will also provide a significant contribution to the XXX AG gross profit </a:t>
            </a:r>
          </a:p>
          <a:p>
            <a:r>
              <a:rPr lang="en-US" dirty="0" smtClean="0"/>
              <a:t>The expected increase in the margin at the group level follows plausibly from the planned shifts of the product mix.</a:t>
            </a:r>
            <a:endParaRPr lang="en-US" dirty="0"/>
          </a:p>
        </p:txBody>
      </p:sp>
      <p:sp>
        <p:nvSpPr>
          <p:cNvPr id="5" name="Textplatzhalter 4"/>
          <p:cNvSpPr>
            <a:spLocks noGrp="1"/>
          </p:cNvSpPr>
          <p:nvPr>
            <p:ph type="body" sz="quarter" idx="12"/>
          </p:nvPr>
        </p:nvSpPr>
        <p:spPr>
          <a:xfrm>
            <a:off x="6537324" y="1422400"/>
            <a:ext cx="2893365" cy="4604400"/>
          </a:xfrm>
        </p:spPr>
        <p:txBody>
          <a:bodyPr/>
          <a:lstStyle/>
          <a:p>
            <a:r>
              <a:rPr lang="en-US" dirty="0" smtClean="0"/>
              <a:t>Gross profit and gross profit margin</a:t>
            </a:r>
          </a:p>
          <a:p>
            <a:pPr lvl="2"/>
            <a:r>
              <a:rPr lang="en-US" dirty="0" smtClean="0"/>
              <a:t>Segments A and C provide the major contribution to the XXX AG gross profit. While this is attributable to high sales for Segment A, for Segment C, in which the XXX AG service business is bundled, the high gross profit margin is the cause.</a:t>
            </a:r>
          </a:p>
          <a:p>
            <a:pPr lvl="2"/>
            <a:r>
              <a:rPr lang="en-US" dirty="0" smtClean="0"/>
              <a:t>A, for the most part, stable gross profit margin is expected for Segment A in the planning period. Expected cost increases in raw material should be passed on completely to the customers.</a:t>
            </a:r>
          </a:p>
          <a:p>
            <a:pPr lvl="2"/>
            <a:r>
              <a:rPr lang="en-US" dirty="0" smtClean="0"/>
              <a:t>An increase of the gross profit margin is expected in the planning period for Segment C. A reduction of the manufacturing costs will be achieved by an optimization of the production processes in Plant X.</a:t>
            </a:r>
          </a:p>
          <a:p>
            <a:pPr lvl="2"/>
            <a:r>
              <a:rPr lang="en-US" dirty="0" smtClean="0"/>
              <a:t>Along with a significant increase in sales, a significant increase of the gross profit margin is expected for Segment B. The reason for this is major savings in purchasing as a result of the increased procurement volumes.</a:t>
            </a:r>
          </a:p>
          <a:p>
            <a:pPr lvl="2"/>
            <a:r>
              <a:rPr lang="en-US" dirty="0" smtClean="0"/>
              <a:t>[... Segment D ….]</a:t>
            </a:r>
            <a:endParaRPr lang="en-US" dirty="0"/>
          </a:p>
        </p:txBody>
      </p:sp>
      <p:sp>
        <p:nvSpPr>
          <p:cNvPr id="4" name="Titel 3"/>
          <p:cNvSpPr>
            <a:spLocks noGrp="1"/>
          </p:cNvSpPr>
          <p:nvPr>
            <p:ph type="title"/>
          </p:nvPr>
        </p:nvSpPr>
        <p:spPr/>
        <p:txBody>
          <a:bodyPr/>
          <a:lstStyle/>
          <a:p>
            <a:r>
              <a:rPr lang="en-US" dirty="0"/>
              <a:t>2. Which products/product groups/regions/segments have the greatest importance for sales/gross profit over time? </a:t>
            </a:r>
            <a:r>
              <a:rPr lang="en-US" dirty="0" smtClean="0"/>
              <a:t>(2/3) (Alternative)</a:t>
            </a:r>
            <a:endParaRPr lang="en-US" dirty="0"/>
          </a:p>
        </p:txBody>
      </p:sp>
      <p:sp>
        <p:nvSpPr>
          <p:cNvPr id="3" name="Textplatzhalter 2"/>
          <p:cNvSpPr>
            <a:spLocks noGrp="1"/>
          </p:cNvSpPr>
          <p:nvPr>
            <p:ph type="body" sz="quarter" idx="13"/>
          </p:nvPr>
        </p:nvSpPr>
        <p:spPr/>
        <p:txBody>
          <a:bodyPr/>
          <a:lstStyle/>
          <a:p>
            <a:r>
              <a:rPr lang="en-US" dirty="0"/>
              <a:t>Sales and Gross Profit (Planning) </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366871591"/>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3">
            <a:duotone>
              <a:schemeClr val="bg2">
                <a:shade val="45000"/>
                <a:satMod val="135000"/>
              </a:schemeClr>
              <a:prstClr val="white"/>
            </a:duotone>
          </a:blip>
          <a:stretch>
            <a:fillRect/>
          </a:stretch>
        </p:blipFill>
        <p:spPr>
          <a:xfrm>
            <a:off x="7132320" y="5701816"/>
            <a:ext cx="340197" cy="405178"/>
          </a:xfrm>
          <a:prstGeom prst="rect">
            <a:avLst/>
          </a:prstGeom>
        </p:spPr>
      </p:pic>
      <p:pic>
        <p:nvPicPr>
          <p:cNvPr id="20" name="Grafik 19"/>
          <p:cNvPicPr>
            <a:picLocks noChangeAspect="1"/>
          </p:cNvPicPr>
          <p:nvPr/>
        </p:nvPicPr>
        <p:blipFill>
          <a:blip r:embed="rId14"/>
          <a:stretch>
            <a:fillRect/>
          </a:stretch>
        </p:blipFill>
        <p:spPr>
          <a:xfrm>
            <a:off x="7415936" y="5701816"/>
            <a:ext cx="340197" cy="405178"/>
          </a:xfrm>
          <a:prstGeom prst="rect">
            <a:avLst/>
          </a:prstGeom>
        </p:spPr>
      </p:pic>
      <p:pic>
        <p:nvPicPr>
          <p:cNvPr id="21" name="Grafik 20"/>
          <p:cNvPicPr>
            <a:picLocks noChangeAspect="1"/>
          </p:cNvPicPr>
          <p:nvPr/>
        </p:nvPicPr>
        <p:blipFill>
          <a:blip r:embed="rId15">
            <a:duotone>
              <a:schemeClr val="bg2">
                <a:shade val="45000"/>
                <a:satMod val="135000"/>
              </a:schemeClr>
              <a:prstClr val="white"/>
            </a:duotone>
          </a:blip>
          <a:stretch>
            <a:fillRect/>
          </a:stretch>
        </p:blipFill>
        <p:spPr>
          <a:xfrm>
            <a:off x="7699552" y="5701816"/>
            <a:ext cx="340197" cy="405178"/>
          </a:xfrm>
          <a:prstGeom prst="rect">
            <a:avLst/>
          </a:prstGeom>
        </p:spPr>
      </p:pic>
      <p:pic>
        <p:nvPicPr>
          <p:cNvPr id="22" name="Grafik 21"/>
          <p:cNvPicPr>
            <a:picLocks noChangeAspect="1"/>
          </p:cNvPicPr>
          <p:nvPr/>
        </p:nvPicPr>
        <p:blipFill>
          <a:blip r:embed="rId16"/>
          <a:stretch>
            <a:fillRect/>
          </a:stretch>
        </p:blipFill>
        <p:spPr>
          <a:xfrm>
            <a:off x="7983168" y="5701816"/>
            <a:ext cx="340197" cy="405178"/>
          </a:xfrm>
          <a:prstGeom prst="rect">
            <a:avLst/>
          </a:prstGeom>
        </p:spPr>
      </p:pic>
      <p:pic>
        <p:nvPicPr>
          <p:cNvPr id="23" name="Grafik 22"/>
          <p:cNvPicPr>
            <a:picLocks noChangeAspect="1"/>
          </p:cNvPicPr>
          <p:nvPr/>
        </p:nvPicPr>
        <p:blipFill>
          <a:blip r:embed="rId17"/>
          <a:stretch>
            <a:fillRect/>
          </a:stretch>
        </p:blipFill>
        <p:spPr>
          <a:xfrm>
            <a:off x="8266784" y="5701816"/>
            <a:ext cx="340197" cy="405178"/>
          </a:xfrm>
          <a:prstGeom prst="rect">
            <a:avLst/>
          </a:prstGeom>
        </p:spPr>
      </p:pic>
      <p:pic>
        <p:nvPicPr>
          <p:cNvPr id="24" name="Grafik 23"/>
          <p:cNvPicPr>
            <a:picLocks noChangeAspect="1"/>
          </p:cNvPicPr>
          <p:nvPr/>
        </p:nvPicPr>
        <p:blipFill>
          <a:blip r:embed="rId18">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omposition of gross profit margin according to segments</a:t>
            </a:r>
          </a:p>
        </p:txBody>
      </p:sp>
      <p:pic>
        <p:nvPicPr>
          <p:cNvPr id="30" name="Grafik 29"/>
          <p:cNvPicPr>
            <a:picLocks/>
          </p:cNvPicPr>
          <p:nvPr/>
        </p:nvPicPr>
        <p:blipFill>
          <a:blip r:embed="rId19">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20">
            <a:duotone>
              <a:schemeClr val="bg2">
                <a:shade val="45000"/>
                <a:satMod val="135000"/>
              </a:schemeClr>
              <a:prstClr val="white"/>
            </a:duotone>
          </a:blip>
          <a:stretch>
            <a:fillRect/>
          </a:stretch>
        </p:blipFill>
        <p:spPr>
          <a:xfrm>
            <a:off x="8834016" y="5701816"/>
            <a:ext cx="340197" cy="405178"/>
          </a:xfrm>
          <a:prstGeom prst="rect">
            <a:avLst/>
          </a:prstGeom>
        </p:spPr>
      </p:pic>
      <p:sp>
        <p:nvSpPr>
          <p:cNvPr id="40" name="Text Placeholder 12"/>
          <p:cNvSpPr txBox="1">
            <a:spLocks/>
          </p:cNvSpPr>
          <p:nvPr>
            <p:custDataLst>
              <p:tags r:id="rId3"/>
            </p:custDataLst>
          </p:nvPr>
        </p:nvSpPr>
        <p:spPr>
          <a:xfrm>
            <a:off x="2447922" y="3817257"/>
            <a:ext cx="3896130"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hare of sales/Gross profit margin according to segments</a:t>
            </a:r>
          </a:p>
        </p:txBody>
      </p:sp>
      <p:grpSp>
        <p:nvGrpSpPr>
          <p:cNvPr id="25" name="Group 2"/>
          <p:cNvGrpSpPr/>
          <p:nvPr>
            <p:custDataLst>
              <p:tags r:id="rId4"/>
            </p:custDataLst>
          </p:nvPr>
        </p:nvGrpSpPr>
        <p:grpSpPr>
          <a:xfrm>
            <a:off x="3039292" y="1716044"/>
            <a:ext cx="2569028" cy="1340663"/>
            <a:chOff x="-755730" y="5561012"/>
            <a:chExt cx="2174657" cy="1624013"/>
          </a:xfrm>
        </p:grpSpPr>
        <p:sp>
          <p:nvSpPr>
            <p:cNvPr id="28" name="Rectangle 2"/>
            <p:cNvSpPr>
              <a:spLocks noChangeArrowheads="1"/>
            </p:cNvSpPr>
            <p:nvPr>
              <p:custDataLst>
                <p:tags r:id="rId9"/>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9" name="Rectangle 2"/>
            <p:cNvSpPr>
              <a:spLocks noChangeArrowheads="1"/>
            </p:cNvSpPr>
            <p:nvPr>
              <p:custDataLst>
                <p:tags r:id="rId10"/>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27" name="Textfeld 26"/>
          <p:cNvSpPr txBox="1">
            <a:spLocks/>
          </p:cNvSpPr>
          <p:nvPr/>
        </p:nvSpPr>
        <p:spPr>
          <a:xfrm>
            <a:off x="2446338" y="5775167"/>
            <a:ext cx="3597411" cy="246221"/>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spAutoFit/>
          </a:bodyPr>
          <a:lstStyle/>
          <a:p>
            <a:pPr algn="ctr"/>
            <a:r>
              <a:rPr lang="en-US" sz="800" b="1" dirty="0" smtClean="0">
                <a:latin typeface="Arial" pitchFamily="34" charset="0"/>
                <a:cs typeface="Arial" pitchFamily="34" charset="0"/>
              </a:rPr>
              <a:t>Alternative presentation:</a:t>
            </a:r>
          </a:p>
          <a:p>
            <a:pPr algn="ctr"/>
            <a:r>
              <a:rPr lang="en-US" sz="800" b="1" dirty="0" smtClean="0">
                <a:latin typeface="Arial" pitchFamily="34" charset="0"/>
                <a:cs typeface="Arial" pitchFamily="34" charset="0"/>
              </a:rPr>
              <a:t>Share of sales of the individual segments and gross profit margin</a:t>
            </a:r>
            <a:endParaRPr lang="en-US" sz="800" b="1" dirty="0">
              <a:latin typeface="Arial" pitchFamily="34" charset="0"/>
              <a:cs typeface="Arial" pitchFamily="34" charset="0"/>
            </a:endParaRPr>
          </a:p>
        </p:txBody>
      </p:sp>
      <p:sp>
        <p:nvSpPr>
          <p:cNvPr id="32" name="Textfeld 31"/>
          <p:cNvSpPr txBox="1">
            <a:spLocks/>
          </p:cNvSpPr>
          <p:nvPr/>
        </p:nvSpPr>
        <p:spPr>
          <a:xfrm>
            <a:off x="2446338" y="3387874"/>
            <a:ext cx="3597411" cy="246221"/>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spAutoFit/>
          </a:bodyPr>
          <a:lstStyle/>
          <a:p>
            <a:pPr algn="ctr"/>
            <a:r>
              <a:rPr lang="en-US" sz="800" b="1" dirty="0" smtClean="0">
                <a:latin typeface="Arial" pitchFamily="34" charset="0"/>
                <a:cs typeface="Arial" pitchFamily="34" charset="0"/>
              </a:rPr>
              <a:t>Alternative presentation:</a:t>
            </a:r>
          </a:p>
          <a:p>
            <a:pPr algn="ctr"/>
            <a:r>
              <a:rPr lang="en-US" sz="800" b="1" dirty="0" smtClean="0">
                <a:latin typeface="Arial" pitchFamily="34" charset="0"/>
                <a:cs typeface="Arial" pitchFamily="34" charset="0"/>
              </a:rPr>
              <a:t>Composition of the gross profit margin instead of the gross profit (abs.)</a:t>
            </a:r>
            <a:endParaRPr lang="en-US" sz="800" b="1" dirty="0">
              <a:latin typeface="Arial" pitchFamily="34" charset="0"/>
              <a:cs typeface="Arial" pitchFamily="34" charset="0"/>
            </a:endParaRPr>
          </a:p>
        </p:txBody>
      </p:sp>
      <p:pic>
        <p:nvPicPr>
          <p:cNvPr id="2" name="Grafik 1"/>
          <p:cNvPicPr>
            <a:picLocks noChangeAspect="1"/>
          </p:cNvPicPr>
          <p:nvPr>
            <p:custDataLst>
              <p:tags r:id="rId5"/>
            </p:custDataLst>
          </p:nvPr>
        </p:nvPicPr>
        <p:blipFill rotWithShape="1">
          <a:blip r:embed="rId21"/>
          <a:srcRect l="-69" t="15708" r="28837" b="13189"/>
          <a:stretch/>
        </p:blipFill>
        <p:spPr>
          <a:xfrm>
            <a:off x="2333898" y="1793966"/>
            <a:ext cx="3527875" cy="1548408"/>
          </a:xfrm>
          <a:prstGeom prst="rect">
            <a:avLst/>
          </a:prstGeom>
        </p:spPr>
      </p:pic>
      <p:pic>
        <p:nvPicPr>
          <p:cNvPr id="18" name="Grafik 17"/>
          <p:cNvPicPr>
            <a:picLocks noChangeAspect="1"/>
          </p:cNvPicPr>
          <p:nvPr>
            <p:custDataLst>
              <p:tags r:id="rId6"/>
            </p:custDataLst>
          </p:nvPr>
        </p:nvPicPr>
        <p:blipFill>
          <a:blip r:embed="rId22"/>
          <a:stretch>
            <a:fillRect/>
          </a:stretch>
        </p:blipFill>
        <p:spPr>
          <a:xfrm>
            <a:off x="2261896" y="3551224"/>
            <a:ext cx="4198307" cy="2412406"/>
          </a:xfrm>
          <a:prstGeom prst="rect">
            <a:avLst/>
          </a:prstGeom>
        </p:spPr>
      </p:pic>
      <p:pic>
        <p:nvPicPr>
          <p:cNvPr id="8" name="Grafik 7"/>
          <p:cNvPicPr>
            <a:picLocks noChangeAspect="1"/>
          </p:cNvPicPr>
          <p:nvPr>
            <p:custDataLst>
              <p:tags r:id="rId7"/>
            </p:custDataLst>
          </p:nvPr>
        </p:nvPicPr>
        <p:blipFill>
          <a:blip r:embed="rId23"/>
          <a:stretch>
            <a:fillRect/>
          </a:stretch>
        </p:blipFill>
        <p:spPr>
          <a:xfrm>
            <a:off x="-2675691" y="1422400"/>
            <a:ext cx="2024047" cy="2225233"/>
          </a:xfrm>
          <a:prstGeom prst="rect">
            <a:avLst/>
          </a:prstGeom>
        </p:spPr>
      </p:pic>
      <p:pic>
        <p:nvPicPr>
          <p:cNvPr id="10" name="Grafik 9"/>
          <p:cNvPicPr>
            <a:picLocks noChangeAspect="1"/>
          </p:cNvPicPr>
          <p:nvPr>
            <p:custDataLst>
              <p:tags r:id="rId8"/>
            </p:custDataLst>
          </p:nvPr>
        </p:nvPicPr>
        <p:blipFill>
          <a:blip r:embed="rId24"/>
          <a:stretch>
            <a:fillRect/>
          </a:stretch>
        </p:blipFill>
        <p:spPr>
          <a:xfrm>
            <a:off x="-2675692" y="3738397"/>
            <a:ext cx="2024047" cy="2225233"/>
          </a:xfrm>
          <a:prstGeom prst="rect">
            <a:avLst/>
          </a:prstGeom>
        </p:spPr>
      </p:pic>
    </p:spTree>
    <p:extLst>
      <p:ext uri="{BB962C8B-B14F-4D97-AF65-F5344CB8AC3E}">
        <p14:creationId xmlns:p14="http://schemas.microsoft.com/office/powerpoint/2010/main" val="3925943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The primary contribution to the gross profits of the XXX AG over the entire analysis period was made by the Region X, Segment X,…</a:t>
            </a:r>
          </a:p>
          <a:p>
            <a:r>
              <a:rPr lang="en-US" dirty="0" smtClean="0"/>
              <a:t>An expansion of the business with Customer X is planned in the period of analysis. This will lead to an increased importance of the Region Germany, Product B and wholesale.</a:t>
            </a:r>
            <a:endParaRPr lang="en-US" dirty="0"/>
          </a:p>
        </p:txBody>
      </p:sp>
      <p:sp>
        <p:nvSpPr>
          <p:cNvPr id="5" name="Textplatzhalter 4"/>
          <p:cNvSpPr>
            <a:spLocks noGrp="1"/>
          </p:cNvSpPr>
          <p:nvPr>
            <p:ph type="body" sz="quarter" idx="12"/>
          </p:nvPr>
        </p:nvSpPr>
        <p:spPr>
          <a:xfrm>
            <a:off x="6022732" y="1422400"/>
            <a:ext cx="3407958" cy="4604400"/>
          </a:xfrm>
        </p:spPr>
        <p:txBody>
          <a:bodyPr/>
          <a:lstStyle/>
          <a:p>
            <a:r>
              <a:rPr lang="en-US" dirty="0" smtClean="0"/>
              <a:t>Distribution of sales</a:t>
            </a:r>
          </a:p>
          <a:p>
            <a:pPr lvl="2"/>
            <a:r>
              <a:rPr lang="en-US" dirty="0" smtClean="0"/>
              <a:t>XXX</a:t>
            </a:r>
            <a:endParaRPr lang="en-US" dirty="0"/>
          </a:p>
        </p:txBody>
      </p:sp>
      <p:sp>
        <p:nvSpPr>
          <p:cNvPr id="4" name="Titel 3"/>
          <p:cNvSpPr>
            <a:spLocks noGrp="1"/>
          </p:cNvSpPr>
          <p:nvPr>
            <p:ph type="title"/>
          </p:nvPr>
        </p:nvSpPr>
        <p:spPr/>
        <p:txBody>
          <a:bodyPr/>
          <a:lstStyle/>
          <a:p>
            <a:r>
              <a:rPr lang="en-US" dirty="0"/>
              <a:t>2. Which products/product groups/regions/segments have the greatest importance for sales/gross profit over time? </a:t>
            </a:r>
            <a:r>
              <a:rPr lang="en-US" dirty="0" smtClean="0"/>
              <a:t>(</a:t>
            </a:r>
            <a:r>
              <a:rPr lang="en-US" dirty="0"/>
              <a:t>3</a:t>
            </a:r>
            <a:r>
              <a:rPr lang="en-US" dirty="0" smtClean="0"/>
              <a:t>/3) (Alternative)</a:t>
            </a:r>
            <a:endParaRPr lang="en-US" dirty="0"/>
          </a:p>
        </p:txBody>
      </p:sp>
      <p:sp>
        <p:nvSpPr>
          <p:cNvPr id="3" name="Textplatzhalter 2"/>
          <p:cNvSpPr>
            <a:spLocks noGrp="1"/>
          </p:cNvSpPr>
          <p:nvPr>
            <p:ph type="body" sz="quarter" idx="13"/>
          </p:nvPr>
        </p:nvSpPr>
        <p:spPr/>
        <p:txBody>
          <a:bodyPr/>
          <a:lstStyle/>
          <a:p>
            <a:r>
              <a:rPr lang="en-US" dirty="0"/>
              <a:t>Sales and Gross Profit (Planning) </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106862740"/>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0">
            <a:duotone>
              <a:schemeClr val="bg2">
                <a:shade val="45000"/>
                <a:satMod val="135000"/>
              </a:schemeClr>
              <a:prstClr val="white"/>
            </a:duotone>
          </a:blip>
          <a:stretch>
            <a:fillRect/>
          </a:stretch>
        </p:blipFill>
        <p:spPr>
          <a:xfrm>
            <a:off x="7132320" y="5701816"/>
            <a:ext cx="340197" cy="405178"/>
          </a:xfrm>
          <a:prstGeom prst="rect">
            <a:avLst/>
          </a:prstGeom>
        </p:spPr>
      </p:pic>
      <p:pic>
        <p:nvPicPr>
          <p:cNvPr id="20" name="Grafik 19"/>
          <p:cNvPicPr>
            <a:picLocks noChangeAspect="1"/>
          </p:cNvPicPr>
          <p:nvPr/>
        </p:nvPicPr>
        <p:blipFill>
          <a:blip r:embed="rId11"/>
          <a:stretch>
            <a:fillRect/>
          </a:stretch>
        </p:blipFill>
        <p:spPr>
          <a:xfrm>
            <a:off x="7415936" y="5701816"/>
            <a:ext cx="340197" cy="405178"/>
          </a:xfrm>
          <a:prstGeom prst="rect">
            <a:avLst/>
          </a:prstGeom>
        </p:spPr>
      </p:pic>
      <p:pic>
        <p:nvPicPr>
          <p:cNvPr id="21" name="Grafik 20"/>
          <p:cNvPicPr>
            <a:picLocks noChangeAspect="1"/>
          </p:cNvPicPr>
          <p:nvPr/>
        </p:nvPicPr>
        <p:blipFill>
          <a:blip r:embed="rId12">
            <a:duotone>
              <a:schemeClr val="bg2">
                <a:shade val="45000"/>
                <a:satMod val="135000"/>
              </a:schemeClr>
              <a:prstClr val="white"/>
            </a:duotone>
          </a:blip>
          <a:stretch>
            <a:fillRect/>
          </a:stretch>
        </p:blipFill>
        <p:spPr>
          <a:xfrm>
            <a:off x="7699552" y="5701816"/>
            <a:ext cx="340197" cy="405178"/>
          </a:xfrm>
          <a:prstGeom prst="rect">
            <a:avLst/>
          </a:prstGeom>
        </p:spPr>
      </p:pic>
      <p:pic>
        <p:nvPicPr>
          <p:cNvPr id="22" name="Grafik 21"/>
          <p:cNvPicPr>
            <a:picLocks noChangeAspect="1"/>
          </p:cNvPicPr>
          <p:nvPr/>
        </p:nvPicPr>
        <p:blipFill>
          <a:blip r:embed="rId13"/>
          <a:stretch>
            <a:fillRect/>
          </a:stretch>
        </p:blipFill>
        <p:spPr>
          <a:xfrm>
            <a:off x="7983168" y="5701816"/>
            <a:ext cx="340197" cy="405178"/>
          </a:xfrm>
          <a:prstGeom prst="rect">
            <a:avLst/>
          </a:prstGeom>
        </p:spPr>
      </p:pic>
      <p:pic>
        <p:nvPicPr>
          <p:cNvPr id="23" name="Grafik 22"/>
          <p:cNvPicPr>
            <a:picLocks noChangeAspect="1"/>
          </p:cNvPicPr>
          <p:nvPr/>
        </p:nvPicPr>
        <p:blipFill>
          <a:blip r:embed="rId14"/>
          <a:stretch>
            <a:fillRect/>
          </a:stretch>
        </p:blipFill>
        <p:spPr>
          <a:xfrm>
            <a:off x="8266784" y="5701816"/>
            <a:ext cx="340197" cy="405178"/>
          </a:xfrm>
          <a:prstGeom prst="rect">
            <a:avLst/>
          </a:prstGeom>
        </p:spPr>
      </p:pic>
      <p:pic>
        <p:nvPicPr>
          <p:cNvPr id="24" name="Grafik 23"/>
          <p:cNvPicPr>
            <a:picLocks noChangeAspect="1"/>
          </p:cNvPicPr>
          <p:nvPr/>
        </p:nvPicPr>
        <p:blipFill>
          <a:blip r:embed="rId15">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istribution of sales 2012</a:t>
            </a:r>
          </a:p>
        </p:txBody>
      </p:sp>
      <p:pic>
        <p:nvPicPr>
          <p:cNvPr id="30" name="Grafik 29"/>
          <p:cNvPicPr>
            <a:picLocks/>
          </p:cNvPicPr>
          <p:nvPr/>
        </p:nvPicPr>
        <p:blipFill>
          <a:blip r:embed="rId16">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7">
            <a:duotone>
              <a:schemeClr val="bg2">
                <a:shade val="45000"/>
                <a:satMod val="135000"/>
              </a:schemeClr>
              <a:prstClr val="white"/>
            </a:duotone>
          </a:blip>
          <a:stretch>
            <a:fillRect/>
          </a:stretch>
        </p:blipFill>
        <p:spPr>
          <a:xfrm>
            <a:off x="8834016" y="5701816"/>
            <a:ext cx="340197" cy="405178"/>
          </a:xfrm>
          <a:prstGeom prst="rect">
            <a:avLst/>
          </a:prstGeom>
        </p:spPr>
      </p:pic>
      <p:sp>
        <p:nvSpPr>
          <p:cNvPr id="40" name="Text Placeholder 12"/>
          <p:cNvSpPr txBox="1">
            <a:spLocks/>
          </p:cNvSpPr>
          <p:nvPr>
            <p:custDataLst>
              <p:tags r:id="rId3"/>
            </p:custDataLst>
          </p:nvPr>
        </p:nvSpPr>
        <p:spPr>
          <a:xfrm>
            <a:off x="2447923" y="3817257"/>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istribution of sales </a:t>
            </a:r>
            <a:r>
              <a:rPr lang="en-US" sz="900" kern="0" dirty="0" smtClean="0">
                <a:latin typeface="Arial" panose="020B0604020202020204" pitchFamily="34" charset="0"/>
                <a:cs typeface="Arial" panose="020B0604020202020204" pitchFamily="34" charset="0"/>
              </a:rPr>
              <a:t>2015</a:t>
            </a:r>
            <a:endParaRPr lang="en-US" sz="900" kern="0" dirty="0">
              <a:latin typeface="Arial" panose="020B0604020202020204" pitchFamily="34" charset="0"/>
              <a:cs typeface="Arial" panose="020B0604020202020204" pitchFamily="34" charset="0"/>
            </a:endParaRPr>
          </a:p>
        </p:txBody>
      </p:sp>
      <p:sp>
        <p:nvSpPr>
          <p:cNvPr id="27" name="Textfeld 26"/>
          <p:cNvSpPr txBox="1">
            <a:spLocks/>
          </p:cNvSpPr>
          <p:nvPr/>
        </p:nvSpPr>
        <p:spPr>
          <a:xfrm>
            <a:off x="2455131" y="3251775"/>
            <a:ext cx="3388321" cy="369332"/>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spAutoFit/>
          </a:bodyPr>
          <a:lstStyle/>
          <a:p>
            <a:pPr algn="ctr"/>
            <a:r>
              <a:rPr lang="en-US" sz="800" b="1" dirty="0" smtClean="0">
                <a:latin typeface="Arial" pitchFamily="34" charset="0"/>
                <a:cs typeface="Arial" pitchFamily="34" charset="0"/>
              </a:rPr>
              <a:t>Alternative presentation:</a:t>
            </a:r>
          </a:p>
          <a:p>
            <a:pPr algn="ctr"/>
            <a:r>
              <a:rPr lang="en-US" sz="800" b="1" dirty="0" smtClean="0">
                <a:latin typeface="Arial" pitchFamily="34" charset="0"/>
                <a:cs typeface="Arial" pitchFamily="34" charset="0"/>
              </a:rPr>
              <a:t>Distribution of sales according to region, product, segment, customer, network</a:t>
            </a:r>
            <a:endParaRPr lang="en-US" sz="800" b="1" dirty="0">
              <a:latin typeface="Arial" pitchFamily="34" charset="0"/>
              <a:cs typeface="Arial" pitchFamily="34" charset="0"/>
            </a:endParaRPr>
          </a:p>
        </p:txBody>
      </p:sp>
      <p:pic>
        <p:nvPicPr>
          <p:cNvPr id="7" name="Grafik 6"/>
          <p:cNvPicPr>
            <a:picLocks noChangeAspect="1"/>
          </p:cNvPicPr>
          <p:nvPr>
            <p:custDataLst>
              <p:tags r:id="rId4"/>
            </p:custDataLst>
          </p:nvPr>
        </p:nvPicPr>
        <p:blipFill rotWithShape="1">
          <a:blip r:embed="rId18"/>
          <a:srcRect l="957" t="8493" r="23393" b="32608"/>
          <a:stretch/>
        </p:blipFill>
        <p:spPr>
          <a:xfrm>
            <a:off x="2464526" y="1645920"/>
            <a:ext cx="3378926" cy="1550126"/>
          </a:xfrm>
          <a:prstGeom prst="rect">
            <a:avLst/>
          </a:prstGeom>
        </p:spPr>
      </p:pic>
      <p:pic>
        <p:nvPicPr>
          <p:cNvPr id="10" name="Grafik 9"/>
          <p:cNvPicPr>
            <a:picLocks noChangeAspect="1"/>
          </p:cNvPicPr>
          <p:nvPr>
            <p:custDataLst>
              <p:tags r:id="rId5"/>
            </p:custDataLst>
          </p:nvPr>
        </p:nvPicPr>
        <p:blipFill rotWithShape="1">
          <a:blip r:embed="rId19"/>
          <a:srcRect l="642" r="23161" b="26420"/>
          <a:stretch/>
        </p:blipFill>
        <p:spPr>
          <a:xfrm>
            <a:off x="2447109" y="3973456"/>
            <a:ext cx="3396342" cy="2044168"/>
          </a:xfrm>
          <a:prstGeom prst="rect">
            <a:avLst/>
          </a:prstGeom>
        </p:spPr>
      </p:pic>
      <p:pic>
        <p:nvPicPr>
          <p:cNvPr id="8" name="Grafik 7"/>
          <p:cNvPicPr>
            <a:picLocks noChangeAspect="1"/>
          </p:cNvPicPr>
          <p:nvPr>
            <p:custDataLst>
              <p:tags r:id="rId6"/>
            </p:custDataLst>
          </p:nvPr>
        </p:nvPicPr>
        <p:blipFill>
          <a:blip r:embed="rId20"/>
          <a:stretch>
            <a:fillRect/>
          </a:stretch>
        </p:blipFill>
        <p:spPr>
          <a:xfrm>
            <a:off x="-2723732" y="1175175"/>
            <a:ext cx="2024047" cy="2225233"/>
          </a:xfrm>
          <a:prstGeom prst="rect">
            <a:avLst/>
          </a:prstGeom>
        </p:spPr>
      </p:pic>
      <p:pic>
        <p:nvPicPr>
          <p:cNvPr id="12" name="Grafik 11"/>
          <p:cNvPicPr>
            <a:picLocks noChangeAspect="1"/>
          </p:cNvPicPr>
          <p:nvPr>
            <p:custDataLst>
              <p:tags r:id="rId7"/>
            </p:custDataLst>
          </p:nvPr>
        </p:nvPicPr>
        <p:blipFill>
          <a:blip r:embed="rId21"/>
          <a:stretch>
            <a:fillRect/>
          </a:stretch>
        </p:blipFill>
        <p:spPr>
          <a:xfrm>
            <a:off x="-2723733" y="3595717"/>
            <a:ext cx="2024047" cy="2225233"/>
          </a:xfrm>
          <a:prstGeom prst="rect">
            <a:avLst/>
          </a:prstGeom>
        </p:spPr>
      </p:pic>
    </p:spTree>
    <p:extLst>
      <p:ext uri="{BB962C8B-B14F-4D97-AF65-F5344CB8AC3E}">
        <p14:creationId xmlns:p14="http://schemas.microsoft.com/office/powerpoint/2010/main" val="39969822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smtClean="0"/>
              <a:t>Primary driver for the sales increase of €</a:t>
            </a:r>
            <a:r>
              <a:rPr lang="en-US" noProof="0" dirty="0" err="1" smtClean="0"/>
              <a:t>xxx.x</a:t>
            </a:r>
            <a:r>
              <a:rPr lang="en-US" noProof="0" dirty="0" smtClean="0"/>
              <a:t> million in the planning period is the launch of Product B in 2013. This should lead to a cumulative increase in sales of €</a:t>
            </a:r>
            <a:r>
              <a:rPr lang="en-US" noProof="0" dirty="0" err="1" smtClean="0"/>
              <a:t>x.x</a:t>
            </a:r>
            <a:r>
              <a:rPr lang="en-US" noProof="0" dirty="0" smtClean="0"/>
              <a:t> million in the planning period and equals ca. X% of the entire expected increase in sales.</a:t>
            </a:r>
          </a:p>
          <a:p>
            <a:r>
              <a:rPr lang="en-US" noProof="0" dirty="0" smtClean="0"/>
              <a:t>As a result of the expected product launch, the sales growth will subsequently be above the overall market.</a:t>
            </a:r>
            <a:endParaRPr lang="en-US" noProof="0" dirty="0"/>
          </a:p>
        </p:txBody>
      </p:sp>
      <p:sp>
        <p:nvSpPr>
          <p:cNvPr id="5" name="Textplatzhalter 4"/>
          <p:cNvSpPr>
            <a:spLocks noGrp="1"/>
          </p:cNvSpPr>
          <p:nvPr>
            <p:ph type="body" sz="quarter" idx="12"/>
          </p:nvPr>
        </p:nvSpPr>
        <p:spPr>
          <a:xfrm>
            <a:off x="6022732" y="1422400"/>
            <a:ext cx="3407958" cy="4604400"/>
          </a:xfrm>
        </p:spPr>
        <p:txBody>
          <a:bodyPr/>
          <a:lstStyle/>
          <a:p>
            <a:r>
              <a:rPr lang="en-US" noProof="0" dirty="0" smtClean="0"/>
              <a:t>Primary drivers of future sales development</a:t>
            </a:r>
          </a:p>
          <a:p>
            <a:pPr lvl="2"/>
            <a:r>
              <a:rPr lang="en-US" noProof="0" dirty="0" smtClean="0"/>
              <a:t>Following the approval of Product B, the XXX AG intends to launch this product worldwide. Product B improves…</a:t>
            </a:r>
          </a:p>
          <a:p>
            <a:pPr lvl="2"/>
            <a:r>
              <a:rPr lang="en-US" noProof="0" dirty="0" smtClean="0"/>
              <a:t>From the launch of Product B a cumulative sales increase of €</a:t>
            </a:r>
            <a:r>
              <a:rPr lang="en-US" noProof="0" dirty="0" err="1" smtClean="0"/>
              <a:t>xxx.x</a:t>
            </a:r>
            <a:r>
              <a:rPr lang="en-US" noProof="0" dirty="0" smtClean="0"/>
              <a:t> million is expected in the planning period. </a:t>
            </a:r>
          </a:p>
          <a:p>
            <a:pPr lvl="2"/>
            <a:r>
              <a:rPr lang="en-US" noProof="0" dirty="0" smtClean="0"/>
              <a:t>In addition, expected price increases in Segment C are a material driver for the sales increase. Here, the XXX AG expects, as a result of bottlenecks in supply, due to the withdrawal of Competitor YYY from the market and unchanged demand, to be able to realize price increases.</a:t>
            </a:r>
          </a:p>
          <a:p>
            <a:pPr lvl="2"/>
            <a:r>
              <a:rPr lang="en-US" noProof="0" dirty="0" smtClean="0"/>
              <a:t>Furthermore, the expansion of the XXX AG in Region Y with €</a:t>
            </a:r>
            <a:r>
              <a:rPr lang="en-US" noProof="0" dirty="0" err="1" smtClean="0"/>
              <a:t>xx.x</a:t>
            </a:r>
            <a:r>
              <a:rPr lang="en-US" noProof="0" dirty="0" smtClean="0"/>
              <a:t> million, is a material contribution to growth.</a:t>
            </a:r>
            <a:endParaRPr lang="en-US" noProof="0" dirty="0"/>
          </a:p>
        </p:txBody>
      </p:sp>
      <p:sp>
        <p:nvSpPr>
          <p:cNvPr id="4" name="Titel 3"/>
          <p:cNvSpPr>
            <a:spLocks noGrp="1"/>
          </p:cNvSpPr>
          <p:nvPr>
            <p:ph type="title"/>
          </p:nvPr>
        </p:nvSpPr>
        <p:spPr/>
        <p:txBody>
          <a:bodyPr/>
          <a:lstStyle/>
          <a:p>
            <a:r>
              <a:rPr lang="en-US" noProof="0" dirty="0"/>
              <a:t>3. What issues have a material impact on the planned development of sales and gross profit? (1/2)</a:t>
            </a:r>
          </a:p>
        </p:txBody>
      </p:sp>
      <p:sp>
        <p:nvSpPr>
          <p:cNvPr id="3" name="Textplatzhalter 2"/>
          <p:cNvSpPr>
            <a:spLocks noGrp="1"/>
          </p:cNvSpPr>
          <p:nvPr>
            <p:ph type="body" sz="quarter" idx="13"/>
          </p:nvPr>
        </p:nvSpPr>
        <p:spPr/>
        <p:txBody>
          <a:bodyPr/>
          <a:lstStyle/>
          <a:p>
            <a:r>
              <a:rPr lang="en-US" noProof="0" dirty="0"/>
              <a:t>Sales and Gross Profit (Planning) </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0"/>
          <a:stretch>
            <a:fillRect/>
          </a:stretch>
        </p:blipFill>
        <p:spPr>
          <a:xfrm>
            <a:off x="7132320" y="5701816"/>
            <a:ext cx="340197" cy="405178"/>
          </a:xfrm>
          <a:prstGeom prst="rect">
            <a:avLst/>
          </a:prstGeom>
        </p:spPr>
      </p:pic>
      <p:pic>
        <p:nvPicPr>
          <p:cNvPr id="20" name="Grafik 19"/>
          <p:cNvPicPr>
            <a:picLocks noChangeAspect="1"/>
          </p:cNvPicPr>
          <p:nvPr/>
        </p:nvPicPr>
        <p:blipFill>
          <a:blip r:embed="rId11">
            <a:duotone>
              <a:schemeClr val="bg2">
                <a:shade val="45000"/>
                <a:satMod val="135000"/>
              </a:schemeClr>
              <a:prstClr val="white"/>
            </a:duotone>
          </a:blip>
          <a:stretch>
            <a:fillRect/>
          </a:stretch>
        </p:blipFill>
        <p:spPr>
          <a:xfrm>
            <a:off x="7415936" y="5701816"/>
            <a:ext cx="340197" cy="405178"/>
          </a:xfrm>
          <a:prstGeom prst="rect">
            <a:avLst/>
          </a:prstGeom>
        </p:spPr>
      </p:pic>
      <p:pic>
        <p:nvPicPr>
          <p:cNvPr id="21" name="Grafik 20"/>
          <p:cNvPicPr>
            <a:picLocks noChangeAspect="1"/>
          </p:cNvPicPr>
          <p:nvPr/>
        </p:nvPicPr>
        <p:blipFill>
          <a:blip r:embed="rId12">
            <a:duotone>
              <a:schemeClr val="bg2">
                <a:shade val="45000"/>
                <a:satMod val="135000"/>
              </a:schemeClr>
              <a:prstClr val="white"/>
            </a:duotone>
          </a:blip>
          <a:stretch>
            <a:fillRect/>
          </a:stretch>
        </p:blipFill>
        <p:spPr>
          <a:xfrm>
            <a:off x="7699552" y="5701816"/>
            <a:ext cx="340197" cy="405178"/>
          </a:xfrm>
          <a:prstGeom prst="rect">
            <a:avLst/>
          </a:prstGeom>
        </p:spPr>
      </p:pic>
      <p:pic>
        <p:nvPicPr>
          <p:cNvPr id="22" name="Grafik 21"/>
          <p:cNvPicPr>
            <a:picLocks noChangeAspect="1"/>
          </p:cNvPicPr>
          <p:nvPr/>
        </p:nvPicPr>
        <p:blipFill>
          <a:blip r:embed="rId13"/>
          <a:stretch>
            <a:fillRect/>
          </a:stretch>
        </p:blipFill>
        <p:spPr>
          <a:xfrm>
            <a:off x="7983168" y="5701816"/>
            <a:ext cx="340197" cy="405178"/>
          </a:xfrm>
          <a:prstGeom prst="rect">
            <a:avLst/>
          </a:prstGeom>
        </p:spPr>
      </p:pic>
      <p:pic>
        <p:nvPicPr>
          <p:cNvPr id="23" name="Grafik 22"/>
          <p:cNvPicPr>
            <a:picLocks noChangeAspect="1"/>
          </p:cNvPicPr>
          <p:nvPr/>
        </p:nvPicPr>
        <p:blipFill>
          <a:blip r:embed="rId14">
            <a:duotone>
              <a:schemeClr val="bg2">
                <a:shade val="45000"/>
                <a:satMod val="135000"/>
              </a:schemeClr>
              <a:prstClr val="white"/>
            </a:duotone>
          </a:blip>
          <a:stretch>
            <a:fillRect/>
          </a:stretch>
        </p:blipFill>
        <p:spPr>
          <a:xfrm>
            <a:off x="8266784" y="5701816"/>
            <a:ext cx="340197" cy="405178"/>
          </a:xfrm>
          <a:prstGeom prst="rect">
            <a:avLst/>
          </a:prstGeom>
        </p:spPr>
      </p:pic>
      <p:pic>
        <p:nvPicPr>
          <p:cNvPr id="24" name="Grafik 23"/>
          <p:cNvPicPr>
            <a:picLocks noChangeAspect="1"/>
          </p:cNvPicPr>
          <p:nvPr/>
        </p:nvPicPr>
        <p:blipFill>
          <a:blip r:embed="rId15"/>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ales drivers in the planning period</a:t>
            </a:r>
          </a:p>
        </p:txBody>
      </p:sp>
      <p:pic>
        <p:nvPicPr>
          <p:cNvPr id="30" name="Grafik 29"/>
          <p:cNvPicPr>
            <a:picLocks/>
          </p:cNvPicPr>
          <p:nvPr/>
        </p:nvPicPr>
        <p:blipFill>
          <a:blip r:embed="rId16">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7"/>
          <a:stretch>
            <a:fillRect/>
          </a:stretch>
        </p:blipFill>
        <p:spPr>
          <a:xfrm>
            <a:off x="8834016" y="5701816"/>
            <a:ext cx="340197" cy="405178"/>
          </a:xfrm>
          <a:prstGeom prst="rect">
            <a:avLst/>
          </a:prstGeom>
        </p:spPr>
      </p:pic>
      <p:sp>
        <p:nvSpPr>
          <p:cNvPr id="25" name="Rectangle 4"/>
          <p:cNvSpPr>
            <a:spLocks noChangeArrowheads="1"/>
          </p:cNvSpPr>
          <p:nvPr>
            <p:custDataLst>
              <p:tags r:id="rId3"/>
            </p:custDataLst>
          </p:nvPr>
        </p:nvSpPr>
        <p:spPr bwMode="gray">
          <a:xfrm>
            <a:off x="7763608" y="5454591"/>
            <a:ext cx="1653442" cy="223679"/>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f applicable presentation at the segment level, or such</a:t>
            </a:r>
          </a:p>
        </p:txBody>
      </p:sp>
      <p:pic>
        <p:nvPicPr>
          <p:cNvPr id="12" name="Grafik 11"/>
          <p:cNvPicPr>
            <a:picLocks noChangeAspect="1"/>
          </p:cNvPicPr>
          <p:nvPr>
            <p:custDataLst>
              <p:tags r:id="rId4"/>
            </p:custDataLst>
          </p:nvPr>
        </p:nvPicPr>
        <p:blipFill rotWithShape="1">
          <a:blip r:embed="rId18"/>
          <a:srcRect l="6752" t="6865" r="8731"/>
          <a:stretch/>
        </p:blipFill>
        <p:spPr>
          <a:xfrm>
            <a:off x="2447109" y="1750423"/>
            <a:ext cx="3396342" cy="2060865"/>
          </a:xfrm>
          <a:prstGeom prst="rect">
            <a:avLst/>
          </a:prstGeom>
        </p:spPr>
      </p:pic>
      <p:pic>
        <p:nvPicPr>
          <p:cNvPr id="14" name="Grafik 13"/>
          <p:cNvPicPr>
            <a:picLocks noChangeAspect="1"/>
          </p:cNvPicPr>
          <p:nvPr>
            <p:custDataLst>
              <p:tags r:id="rId5"/>
            </p:custDataLst>
          </p:nvPr>
        </p:nvPicPr>
        <p:blipFill>
          <a:blip r:embed="rId19"/>
          <a:stretch>
            <a:fillRect/>
          </a:stretch>
        </p:blipFill>
        <p:spPr>
          <a:xfrm>
            <a:off x="2454525" y="3856941"/>
            <a:ext cx="3390648" cy="1574236"/>
          </a:xfrm>
          <a:prstGeom prst="rect">
            <a:avLst/>
          </a:prstGeom>
        </p:spPr>
      </p:pic>
      <p:pic>
        <p:nvPicPr>
          <p:cNvPr id="7" name="Grafik 6"/>
          <p:cNvPicPr>
            <a:picLocks noChangeAspect="1"/>
          </p:cNvPicPr>
          <p:nvPr>
            <p:custDataLst>
              <p:tags r:id="rId6"/>
            </p:custDataLst>
          </p:nvPr>
        </p:nvPicPr>
        <p:blipFill>
          <a:blip r:embed="rId20"/>
          <a:stretch>
            <a:fillRect/>
          </a:stretch>
        </p:blipFill>
        <p:spPr>
          <a:xfrm>
            <a:off x="-2754841" y="1422400"/>
            <a:ext cx="2024047" cy="2225233"/>
          </a:xfrm>
          <a:prstGeom prst="rect">
            <a:avLst/>
          </a:prstGeom>
        </p:spPr>
      </p:pic>
      <p:pic>
        <p:nvPicPr>
          <p:cNvPr id="9" name="Grafik 8"/>
          <p:cNvPicPr>
            <a:picLocks noChangeAspect="1"/>
          </p:cNvPicPr>
          <p:nvPr>
            <p:custDataLst>
              <p:tags r:id="rId7"/>
            </p:custDataLst>
          </p:nvPr>
        </p:nvPicPr>
        <p:blipFill>
          <a:blip r:embed="rId21"/>
          <a:stretch>
            <a:fillRect/>
          </a:stretch>
        </p:blipFill>
        <p:spPr>
          <a:xfrm>
            <a:off x="-2754840" y="3738397"/>
            <a:ext cx="2024047" cy="2225233"/>
          </a:xfrm>
          <a:prstGeom prst="rect">
            <a:avLst/>
          </a:prstGeom>
        </p:spPr>
      </p:pic>
    </p:spTree>
    <p:extLst>
      <p:ext uri="{BB962C8B-B14F-4D97-AF65-F5344CB8AC3E}">
        <p14:creationId xmlns:p14="http://schemas.microsoft.com/office/powerpoint/2010/main" val="385917729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smtClean="0"/>
              <a:t>Primary drivers for the increase in gross profit of €</a:t>
            </a:r>
            <a:r>
              <a:rPr lang="en-US" noProof="0" dirty="0" err="1" smtClean="0"/>
              <a:t>xxx.x</a:t>
            </a:r>
            <a:r>
              <a:rPr lang="en-US" noProof="0" dirty="0" smtClean="0"/>
              <a:t> million in the planning period are the product launch in Segment B as well as the improvement in margins in Segment C as a result of expected price increases.</a:t>
            </a:r>
          </a:p>
          <a:p>
            <a:r>
              <a:rPr lang="en-US" noProof="0" dirty="0" smtClean="0"/>
              <a:t>We consider the increase in the gross profit margin for the planning period to be plausible in general, taking the individual measures planned into consideration.</a:t>
            </a:r>
            <a:endParaRPr lang="en-US" noProof="0" dirty="0"/>
          </a:p>
        </p:txBody>
      </p:sp>
      <p:sp>
        <p:nvSpPr>
          <p:cNvPr id="5" name="Textplatzhalter 4"/>
          <p:cNvSpPr>
            <a:spLocks noGrp="1"/>
          </p:cNvSpPr>
          <p:nvPr>
            <p:ph type="body" sz="quarter" idx="12"/>
          </p:nvPr>
        </p:nvSpPr>
        <p:spPr>
          <a:xfrm>
            <a:off x="6022732" y="1422400"/>
            <a:ext cx="3407958" cy="4604400"/>
          </a:xfrm>
        </p:spPr>
        <p:txBody>
          <a:bodyPr/>
          <a:lstStyle/>
          <a:p>
            <a:r>
              <a:rPr lang="en-US" noProof="0" dirty="0" smtClean="0"/>
              <a:t>Development of gross profit and gross profit margin</a:t>
            </a:r>
          </a:p>
          <a:p>
            <a:pPr lvl="2"/>
            <a:r>
              <a:rPr lang="en-US" noProof="0" dirty="0" smtClean="0"/>
              <a:t>The increase of the gross profit margin is primarily attributable to XXX.</a:t>
            </a:r>
          </a:p>
          <a:p>
            <a:pPr lvl="2"/>
            <a:r>
              <a:rPr lang="en-US" noProof="0" dirty="0" smtClean="0"/>
              <a:t>Along with that XXX is contributing to the increase in the gross profit.</a:t>
            </a:r>
          </a:p>
          <a:p>
            <a:pPr lvl="2"/>
            <a:r>
              <a:rPr lang="en-US" noProof="0" dirty="0" smtClean="0"/>
              <a:t>XXX has a compensating effect …</a:t>
            </a:r>
            <a:endParaRPr lang="en-US" noProof="0" dirty="0"/>
          </a:p>
        </p:txBody>
      </p:sp>
      <p:sp>
        <p:nvSpPr>
          <p:cNvPr id="4" name="Titel 3"/>
          <p:cNvSpPr>
            <a:spLocks noGrp="1"/>
          </p:cNvSpPr>
          <p:nvPr>
            <p:ph type="title"/>
          </p:nvPr>
        </p:nvSpPr>
        <p:spPr/>
        <p:txBody>
          <a:bodyPr/>
          <a:lstStyle/>
          <a:p>
            <a:r>
              <a:rPr lang="en-US" noProof="0" dirty="0"/>
              <a:t>3. What issues have a material impact on the planned development of sales and gross profit? </a:t>
            </a:r>
            <a:r>
              <a:rPr lang="en-US" noProof="0" dirty="0" smtClean="0"/>
              <a:t>(2/2</a:t>
            </a:r>
            <a:r>
              <a:rPr lang="en-US" noProof="0" dirty="0"/>
              <a:t>)</a:t>
            </a:r>
          </a:p>
        </p:txBody>
      </p:sp>
      <p:sp>
        <p:nvSpPr>
          <p:cNvPr id="3" name="Textplatzhalter 2"/>
          <p:cNvSpPr>
            <a:spLocks noGrp="1"/>
          </p:cNvSpPr>
          <p:nvPr>
            <p:ph type="body" sz="quarter" idx="13"/>
          </p:nvPr>
        </p:nvSpPr>
        <p:spPr/>
        <p:txBody>
          <a:bodyPr/>
          <a:lstStyle/>
          <a:p>
            <a:r>
              <a:rPr lang="en-US" noProof="0" dirty="0"/>
              <a:t>Sales and Gross Profit (Planning) </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0"/>
          <a:stretch>
            <a:fillRect/>
          </a:stretch>
        </p:blipFill>
        <p:spPr>
          <a:xfrm>
            <a:off x="7132320" y="5701816"/>
            <a:ext cx="340197" cy="405178"/>
          </a:xfrm>
          <a:prstGeom prst="rect">
            <a:avLst/>
          </a:prstGeom>
        </p:spPr>
      </p:pic>
      <p:pic>
        <p:nvPicPr>
          <p:cNvPr id="20" name="Grafik 19"/>
          <p:cNvPicPr>
            <a:picLocks noChangeAspect="1"/>
          </p:cNvPicPr>
          <p:nvPr/>
        </p:nvPicPr>
        <p:blipFill>
          <a:blip r:embed="rId11">
            <a:duotone>
              <a:schemeClr val="bg2">
                <a:shade val="45000"/>
                <a:satMod val="135000"/>
              </a:schemeClr>
              <a:prstClr val="white"/>
            </a:duotone>
          </a:blip>
          <a:stretch>
            <a:fillRect/>
          </a:stretch>
        </p:blipFill>
        <p:spPr>
          <a:xfrm>
            <a:off x="7415936" y="5701816"/>
            <a:ext cx="340197" cy="405178"/>
          </a:xfrm>
          <a:prstGeom prst="rect">
            <a:avLst/>
          </a:prstGeom>
        </p:spPr>
      </p:pic>
      <p:pic>
        <p:nvPicPr>
          <p:cNvPr id="21" name="Grafik 20"/>
          <p:cNvPicPr>
            <a:picLocks noChangeAspect="1"/>
          </p:cNvPicPr>
          <p:nvPr/>
        </p:nvPicPr>
        <p:blipFill>
          <a:blip r:embed="rId12">
            <a:duotone>
              <a:schemeClr val="bg2">
                <a:shade val="45000"/>
                <a:satMod val="135000"/>
              </a:schemeClr>
              <a:prstClr val="white"/>
            </a:duotone>
          </a:blip>
          <a:stretch>
            <a:fillRect/>
          </a:stretch>
        </p:blipFill>
        <p:spPr>
          <a:xfrm>
            <a:off x="7699552" y="5701816"/>
            <a:ext cx="340197" cy="405178"/>
          </a:xfrm>
          <a:prstGeom prst="rect">
            <a:avLst/>
          </a:prstGeom>
        </p:spPr>
      </p:pic>
      <p:pic>
        <p:nvPicPr>
          <p:cNvPr id="22" name="Grafik 21"/>
          <p:cNvPicPr>
            <a:picLocks noChangeAspect="1"/>
          </p:cNvPicPr>
          <p:nvPr/>
        </p:nvPicPr>
        <p:blipFill>
          <a:blip r:embed="rId13"/>
          <a:stretch>
            <a:fillRect/>
          </a:stretch>
        </p:blipFill>
        <p:spPr>
          <a:xfrm>
            <a:off x="7983168" y="5701816"/>
            <a:ext cx="340197" cy="405178"/>
          </a:xfrm>
          <a:prstGeom prst="rect">
            <a:avLst/>
          </a:prstGeom>
        </p:spPr>
      </p:pic>
      <p:pic>
        <p:nvPicPr>
          <p:cNvPr id="23" name="Grafik 22"/>
          <p:cNvPicPr>
            <a:picLocks noChangeAspect="1"/>
          </p:cNvPicPr>
          <p:nvPr/>
        </p:nvPicPr>
        <p:blipFill>
          <a:blip r:embed="rId14">
            <a:duotone>
              <a:schemeClr val="bg2">
                <a:shade val="45000"/>
                <a:satMod val="135000"/>
              </a:schemeClr>
              <a:prstClr val="white"/>
            </a:duotone>
          </a:blip>
          <a:stretch>
            <a:fillRect/>
          </a:stretch>
        </p:blipFill>
        <p:spPr>
          <a:xfrm>
            <a:off x="8266784" y="5701816"/>
            <a:ext cx="340197" cy="405178"/>
          </a:xfrm>
          <a:prstGeom prst="rect">
            <a:avLst/>
          </a:prstGeom>
        </p:spPr>
      </p:pic>
      <p:pic>
        <p:nvPicPr>
          <p:cNvPr id="24" name="Grafik 23"/>
          <p:cNvPicPr>
            <a:picLocks noChangeAspect="1"/>
          </p:cNvPicPr>
          <p:nvPr/>
        </p:nvPicPr>
        <p:blipFill>
          <a:blip r:embed="rId15"/>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rivers of gross profit in the planning period</a:t>
            </a:r>
          </a:p>
        </p:txBody>
      </p:sp>
      <p:pic>
        <p:nvPicPr>
          <p:cNvPr id="30" name="Grafik 29"/>
          <p:cNvPicPr>
            <a:picLocks/>
          </p:cNvPicPr>
          <p:nvPr/>
        </p:nvPicPr>
        <p:blipFill>
          <a:blip r:embed="rId16">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7"/>
          <a:stretch>
            <a:fillRect/>
          </a:stretch>
        </p:blipFill>
        <p:spPr>
          <a:xfrm>
            <a:off x="8834016" y="5701816"/>
            <a:ext cx="340197" cy="405178"/>
          </a:xfrm>
          <a:prstGeom prst="rect">
            <a:avLst/>
          </a:prstGeom>
        </p:spPr>
      </p:pic>
      <p:sp>
        <p:nvSpPr>
          <p:cNvPr id="25" name="Rectangle 4"/>
          <p:cNvSpPr>
            <a:spLocks noChangeArrowheads="1"/>
          </p:cNvSpPr>
          <p:nvPr>
            <p:custDataLst>
              <p:tags r:id="rId3"/>
            </p:custDataLst>
          </p:nvPr>
        </p:nvSpPr>
        <p:spPr bwMode="gray">
          <a:xfrm>
            <a:off x="7763608" y="5454591"/>
            <a:ext cx="1653442" cy="223679"/>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f applicable presentation at the segment level, or such</a:t>
            </a:r>
          </a:p>
        </p:txBody>
      </p:sp>
      <p:pic>
        <p:nvPicPr>
          <p:cNvPr id="17" name="Grafik 16"/>
          <p:cNvPicPr>
            <a:picLocks noChangeAspect="1"/>
          </p:cNvPicPr>
          <p:nvPr>
            <p:custDataLst>
              <p:tags r:id="rId4"/>
            </p:custDataLst>
          </p:nvPr>
        </p:nvPicPr>
        <p:blipFill>
          <a:blip r:embed="rId18"/>
          <a:stretch>
            <a:fillRect/>
          </a:stretch>
        </p:blipFill>
        <p:spPr>
          <a:xfrm>
            <a:off x="2456272" y="3863264"/>
            <a:ext cx="3390648" cy="1959794"/>
          </a:xfrm>
          <a:prstGeom prst="rect">
            <a:avLst/>
          </a:prstGeom>
        </p:spPr>
      </p:pic>
      <p:pic>
        <p:nvPicPr>
          <p:cNvPr id="7" name="Grafik 6"/>
          <p:cNvPicPr>
            <a:picLocks noChangeAspect="1"/>
          </p:cNvPicPr>
          <p:nvPr>
            <p:custDataLst>
              <p:tags r:id="rId5"/>
            </p:custDataLst>
          </p:nvPr>
        </p:nvPicPr>
        <p:blipFill>
          <a:blip r:embed="rId19"/>
          <a:stretch>
            <a:fillRect/>
          </a:stretch>
        </p:blipFill>
        <p:spPr>
          <a:xfrm>
            <a:off x="-2807040" y="1422400"/>
            <a:ext cx="2024047" cy="2225233"/>
          </a:xfrm>
          <a:prstGeom prst="rect">
            <a:avLst/>
          </a:prstGeom>
        </p:spPr>
      </p:pic>
      <p:pic>
        <p:nvPicPr>
          <p:cNvPr id="9" name="Grafik 8"/>
          <p:cNvPicPr>
            <a:picLocks noChangeAspect="1"/>
          </p:cNvPicPr>
          <p:nvPr>
            <p:custDataLst>
              <p:tags r:id="rId6"/>
            </p:custDataLst>
          </p:nvPr>
        </p:nvPicPr>
        <p:blipFill>
          <a:blip r:embed="rId20"/>
          <a:stretch>
            <a:fillRect/>
          </a:stretch>
        </p:blipFill>
        <p:spPr>
          <a:xfrm>
            <a:off x="-2807040" y="3978183"/>
            <a:ext cx="2024047" cy="2219136"/>
          </a:xfrm>
          <a:prstGeom prst="rect">
            <a:avLst/>
          </a:prstGeom>
        </p:spPr>
      </p:pic>
      <p:pic>
        <p:nvPicPr>
          <p:cNvPr id="12" name="Grafik 11"/>
          <p:cNvPicPr>
            <a:picLocks noChangeAspect="1"/>
          </p:cNvPicPr>
          <p:nvPr>
            <p:custDataLst>
              <p:tags r:id="rId7"/>
            </p:custDataLst>
          </p:nvPr>
        </p:nvPicPr>
        <p:blipFill>
          <a:blip r:embed="rId21"/>
          <a:stretch>
            <a:fillRect/>
          </a:stretch>
        </p:blipFill>
        <p:spPr>
          <a:xfrm>
            <a:off x="2179018" y="1653604"/>
            <a:ext cx="3988011" cy="2133524"/>
          </a:xfrm>
          <a:prstGeom prst="rect">
            <a:avLst/>
          </a:prstGeom>
        </p:spPr>
      </p:pic>
    </p:spTree>
    <p:extLst>
      <p:ext uri="{BB962C8B-B14F-4D97-AF65-F5344CB8AC3E}">
        <p14:creationId xmlns:p14="http://schemas.microsoft.com/office/powerpoint/2010/main" val="22581109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smtClean="0"/>
              <a:t>In view of the current order backlog the sales planning of the XXX AG appears ambitious and achievable only with a marked recovery of the entire economic environment.</a:t>
            </a:r>
            <a:endParaRPr lang="en-US" noProof="0" dirty="0"/>
          </a:p>
        </p:txBody>
      </p:sp>
      <p:sp>
        <p:nvSpPr>
          <p:cNvPr id="5" name="Textplatzhalter 4"/>
          <p:cNvSpPr>
            <a:spLocks noGrp="1"/>
          </p:cNvSpPr>
          <p:nvPr>
            <p:ph type="body" sz="quarter" idx="12"/>
          </p:nvPr>
        </p:nvSpPr>
        <p:spPr>
          <a:xfrm>
            <a:off x="6022732" y="1422400"/>
            <a:ext cx="3407958" cy="4604400"/>
          </a:xfrm>
        </p:spPr>
        <p:txBody>
          <a:bodyPr/>
          <a:lstStyle/>
          <a:p>
            <a:r>
              <a:rPr lang="en-US" noProof="0" dirty="0" smtClean="0"/>
              <a:t>Analysis of order backlog</a:t>
            </a:r>
          </a:p>
          <a:p>
            <a:pPr lvl="2"/>
            <a:r>
              <a:rPr lang="en-US" noProof="0" dirty="0" smtClean="0"/>
              <a:t>As of 31 December 2012 the XXX AG has an order backlog of €</a:t>
            </a:r>
            <a:r>
              <a:rPr lang="en-US" noProof="0" dirty="0" err="1" smtClean="0"/>
              <a:t>xxx.x</a:t>
            </a:r>
            <a:r>
              <a:rPr lang="en-US" noProof="0" dirty="0" smtClean="0"/>
              <a:t> million. This is for …(customers, products,…)</a:t>
            </a:r>
          </a:p>
          <a:p>
            <a:pPr lvl="2"/>
            <a:r>
              <a:rPr lang="en-US" noProof="0" dirty="0" smtClean="0"/>
              <a:t>Ca. two-thirds of the order backlog will lead to realization of sales in 2013. </a:t>
            </a:r>
          </a:p>
          <a:p>
            <a:pPr lvl="2"/>
            <a:r>
              <a:rPr lang="en-US" noProof="0" dirty="0" smtClean="0"/>
              <a:t>The planned sales for 2013 of €</a:t>
            </a:r>
            <a:r>
              <a:rPr lang="en-US" noProof="0" dirty="0" err="1" smtClean="0"/>
              <a:t>xxx.x</a:t>
            </a:r>
            <a:r>
              <a:rPr lang="en-US" noProof="0" dirty="0" smtClean="0"/>
              <a:t> million is therefore supported to X% by the order backlog. This is below the figure for the past and reflects the currently weak business environment.</a:t>
            </a:r>
            <a:endParaRPr lang="en-US" noProof="0" dirty="0"/>
          </a:p>
        </p:txBody>
      </p:sp>
      <p:sp>
        <p:nvSpPr>
          <p:cNvPr id="4" name="Titel 3"/>
          <p:cNvSpPr>
            <a:spLocks noGrp="1"/>
          </p:cNvSpPr>
          <p:nvPr>
            <p:ph type="title"/>
          </p:nvPr>
        </p:nvSpPr>
        <p:spPr/>
        <p:txBody>
          <a:bodyPr/>
          <a:lstStyle/>
          <a:p>
            <a:r>
              <a:rPr lang="en-US" noProof="0" dirty="0"/>
              <a:t>4. Does the current order backlog support the expected sales?</a:t>
            </a:r>
          </a:p>
        </p:txBody>
      </p:sp>
      <p:sp>
        <p:nvSpPr>
          <p:cNvPr id="3" name="Textplatzhalter 2"/>
          <p:cNvSpPr>
            <a:spLocks noGrp="1"/>
          </p:cNvSpPr>
          <p:nvPr>
            <p:ph type="body" sz="quarter" idx="13"/>
          </p:nvPr>
        </p:nvSpPr>
        <p:spPr/>
        <p:txBody>
          <a:bodyPr/>
          <a:lstStyle/>
          <a:p>
            <a:r>
              <a:rPr lang="en-US" noProof="0" dirty="0"/>
              <a:t>Sales and Gross Profit (Planning) </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8">
            <a:duotone>
              <a:schemeClr val="bg2">
                <a:shade val="45000"/>
                <a:satMod val="135000"/>
              </a:schemeClr>
              <a:prstClr val="white"/>
            </a:duotone>
          </a:blip>
          <a:stretch>
            <a:fillRect/>
          </a:stretch>
        </p:blipFill>
        <p:spPr>
          <a:xfrm>
            <a:off x="7132320" y="5701816"/>
            <a:ext cx="340197" cy="405178"/>
          </a:xfrm>
          <a:prstGeom prst="rect">
            <a:avLst/>
          </a:prstGeom>
        </p:spPr>
      </p:pic>
      <p:pic>
        <p:nvPicPr>
          <p:cNvPr id="20" name="Grafik 19"/>
          <p:cNvPicPr>
            <a:picLocks noChangeAspect="1"/>
          </p:cNvPicPr>
          <p:nvPr/>
        </p:nvPicPr>
        <p:blipFill>
          <a:blip r:embed="rId9"/>
          <a:stretch>
            <a:fillRect/>
          </a:stretch>
        </p:blipFill>
        <p:spPr>
          <a:xfrm>
            <a:off x="7415936" y="5701816"/>
            <a:ext cx="340197" cy="405178"/>
          </a:xfrm>
          <a:prstGeom prst="rect">
            <a:avLst/>
          </a:prstGeom>
        </p:spPr>
      </p:pic>
      <p:pic>
        <p:nvPicPr>
          <p:cNvPr id="21" name="Grafik 20"/>
          <p:cNvPicPr>
            <a:picLocks noChangeAspect="1"/>
          </p:cNvPicPr>
          <p:nvPr/>
        </p:nvPicPr>
        <p:blipFill>
          <a:blip r:embed="rId10"/>
          <a:stretch>
            <a:fillRect/>
          </a:stretch>
        </p:blipFill>
        <p:spPr>
          <a:xfrm>
            <a:off x="7699552" y="5701816"/>
            <a:ext cx="340197" cy="405178"/>
          </a:xfrm>
          <a:prstGeom prst="rect">
            <a:avLst/>
          </a:prstGeom>
        </p:spPr>
      </p:pic>
      <p:pic>
        <p:nvPicPr>
          <p:cNvPr id="22" name="Grafik 21"/>
          <p:cNvPicPr>
            <a:picLocks noChangeAspect="1"/>
          </p:cNvPicPr>
          <p:nvPr/>
        </p:nvPicPr>
        <p:blipFill>
          <a:blip r:embed="rId11"/>
          <a:stretch>
            <a:fillRect/>
          </a:stretch>
        </p:blipFill>
        <p:spPr>
          <a:xfrm>
            <a:off x="7983168" y="5701816"/>
            <a:ext cx="340197" cy="405178"/>
          </a:xfrm>
          <a:prstGeom prst="rect">
            <a:avLst/>
          </a:prstGeom>
        </p:spPr>
      </p:pic>
      <p:pic>
        <p:nvPicPr>
          <p:cNvPr id="23" name="Grafik 22"/>
          <p:cNvPicPr>
            <a:picLocks noChangeAspect="1"/>
          </p:cNvPicPr>
          <p:nvPr/>
        </p:nvPicPr>
        <p:blipFill>
          <a:blip r:embed="rId12">
            <a:duotone>
              <a:schemeClr val="bg2">
                <a:shade val="45000"/>
                <a:satMod val="135000"/>
              </a:schemeClr>
              <a:prstClr val="white"/>
            </a:duotone>
          </a:blip>
          <a:stretch>
            <a:fillRect/>
          </a:stretch>
        </p:blipFill>
        <p:spPr>
          <a:xfrm>
            <a:off x="8266784" y="5701816"/>
            <a:ext cx="340197" cy="405178"/>
          </a:xfrm>
          <a:prstGeom prst="rect">
            <a:avLst/>
          </a:prstGeom>
        </p:spPr>
      </p:pic>
      <p:pic>
        <p:nvPicPr>
          <p:cNvPr id="24" name="Grafik 23"/>
          <p:cNvPicPr>
            <a:picLocks noChangeAspect="1"/>
          </p:cNvPicPr>
          <p:nvPr/>
        </p:nvPicPr>
        <p:blipFill>
          <a:blip r:embed="rId13">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velopment of order backlog and sales</a:t>
            </a:r>
          </a:p>
        </p:txBody>
      </p:sp>
      <p:pic>
        <p:nvPicPr>
          <p:cNvPr id="30" name="Grafik 29"/>
          <p:cNvPicPr>
            <a:picLocks/>
          </p:cNvPicPr>
          <p:nvPr/>
        </p:nvPicPr>
        <p:blipFill>
          <a:blip r:embed="rId14">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5">
            <a:duotone>
              <a:schemeClr val="bg2">
                <a:shade val="45000"/>
                <a:satMod val="135000"/>
              </a:schemeClr>
              <a:prstClr val="white"/>
            </a:duotone>
          </a:blip>
          <a:stretch>
            <a:fillRect/>
          </a:stretch>
        </p:blipFill>
        <p:spPr>
          <a:xfrm>
            <a:off x="8834016" y="5701816"/>
            <a:ext cx="340197" cy="405178"/>
          </a:xfrm>
          <a:prstGeom prst="rect">
            <a:avLst/>
          </a:prstGeom>
        </p:spPr>
      </p:pic>
      <p:sp>
        <p:nvSpPr>
          <p:cNvPr id="25" name="Rectangle 4"/>
          <p:cNvSpPr>
            <a:spLocks noChangeArrowheads="1"/>
          </p:cNvSpPr>
          <p:nvPr>
            <p:custDataLst>
              <p:tags r:id="rId3"/>
            </p:custDataLst>
          </p:nvPr>
        </p:nvSpPr>
        <p:spPr bwMode="gray">
          <a:xfrm>
            <a:off x="7763608" y="5454591"/>
            <a:ext cx="1653442" cy="223679"/>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f applicable presentation at the segment level, or such</a:t>
            </a:r>
          </a:p>
        </p:txBody>
      </p:sp>
      <p:pic>
        <p:nvPicPr>
          <p:cNvPr id="2" name="Grafik 1"/>
          <p:cNvPicPr>
            <a:picLocks noChangeAspect="1"/>
          </p:cNvPicPr>
          <p:nvPr>
            <p:custDataLst>
              <p:tags r:id="rId4"/>
            </p:custDataLst>
          </p:nvPr>
        </p:nvPicPr>
        <p:blipFill rotWithShape="1">
          <a:blip r:embed="rId16"/>
          <a:srcRect r="11499" b="16331"/>
          <a:stretch/>
        </p:blipFill>
        <p:spPr>
          <a:xfrm>
            <a:off x="2426678" y="1698972"/>
            <a:ext cx="3408065" cy="1758331"/>
          </a:xfrm>
          <a:prstGeom prst="rect">
            <a:avLst/>
          </a:prstGeom>
        </p:spPr>
      </p:pic>
      <p:pic>
        <p:nvPicPr>
          <p:cNvPr id="9" name="Grafik 8"/>
          <p:cNvPicPr>
            <a:picLocks noChangeAspect="1"/>
          </p:cNvPicPr>
          <p:nvPr>
            <p:custDataLst>
              <p:tags r:id="rId5"/>
            </p:custDataLst>
          </p:nvPr>
        </p:nvPicPr>
        <p:blipFill>
          <a:blip r:embed="rId17"/>
          <a:stretch>
            <a:fillRect/>
          </a:stretch>
        </p:blipFill>
        <p:spPr>
          <a:xfrm>
            <a:off x="-2793400" y="2505240"/>
            <a:ext cx="2024047" cy="2225233"/>
          </a:xfrm>
          <a:prstGeom prst="rect">
            <a:avLst/>
          </a:prstGeom>
        </p:spPr>
      </p:pic>
    </p:spTree>
    <p:extLst>
      <p:ext uri="{BB962C8B-B14F-4D97-AF65-F5344CB8AC3E}">
        <p14:creationId xmlns:p14="http://schemas.microsoft.com/office/powerpoint/2010/main" val="10306854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noProof="0" dirty="0" smtClean="0"/>
              <a:t>Disclaimer</a:t>
            </a:r>
            <a:endParaRPr lang="en-US" sz="3600" noProof="0" dirty="0"/>
          </a:p>
        </p:txBody>
      </p:sp>
    </p:spTree>
    <p:extLst>
      <p:ext uri="{BB962C8B-B14F-4D97-AF65-F5344CB8AC3E}">
        <p14:creationId xmlns:p14="http://schemas.microsoft.com/office/powerpoint/2010/main" val="33232131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The XXX AG is increasing the utilization of its plants in the planning period to 85% and therefore achieving a technical full-capacity.</a:t>
            </a:r>
          </a:p>
          <a:p>
            <a:r>
              <a:rPr lang="en-US" dirty="0" smtClean="0"/>
              <a:t>Additional increases in production volumes can only be achieved by an expansion of capacity or through increases in productivity resulting from improved technical processes.</a:t>
            </a:r>
            <a:endParaRPr lang="en-US" dirty="0"/>
          </a:p>
        </p:txBody>
      </p:sp>
      <p:sp>
        <p:nvSpPr>
          <p:cNvPr id="5" name="Textplatzhalter 4"/>
          <p:cNvSpPr>
            <a:spLocks noGrp="1"/>
          </p:cNvSpPr>
          <p:nvPr>
            <p:ph type="body" sz="quarter" idx="12"/>
          </p:nvPr>
        </p:nvSpPr>
        <p:spPr>
          <a:xfrm>
            <a:off x="6022732" y="1422400"/>
            <a:ext cx="3407958" cy="4604400"/>
          </a:xfrm>
        </p:spPr>
        <p:txBody>
          <a:bodyPr/>
          <a:lstStyle/>
          <a:p>
            <a:pPr lvl="2"/>
            <a:r>
              <a:rPr lang="en-US" dirty="0" smtClean="0"/>
              <a:t>[.... Description of development of capacity and utilization ....]</a:t>
            </a:r>
          </a:p>
          <a:p>
            <a:pPr lvl="2"/>
            <a:r>
              <a:rPr lang="en-US" dirty="0" smtClean="0"/>
              <a:t>[.... Description of investment planning ....]</a:t>
            </a:r>
            <a:endParaRPr lang="en-US" dirty="0"/>
          </a:p>
        </p:txBody>
      </p:sp>
      <p:sp>
        <p:nvSpPr>
          <p:cNvPr id="4" name="Titel 3"/>
          <p:cNvSpPr>
            <a:spLocks noGrp="1"/>
          </p:cNvSpPr>
          <p:nvPr>
            <p:ph type="title"/>
          </p:nvPr>
        </p:nvSpPr>
        <p:spPr/>
        <p:txBody>
          <a:bodyPr/>
          <a:lstStyle/>
          <a:p>
            <a:r>
              <a:rPr lang="en-US" dirty="0"/>
              <a:t>5. Can the sales planning be achieved with the planned capacity?</a:t>
            </a:r>
          </a:p>
        </p:txBody>
      </p:sp>
      <p:sp>
        <p:nvSpPr>
          <p:cNvPr id="3" name="Textplatzhalter 2"/>
          <p:cNvSpPr>
            <a:spLocks noGrp="1"/>
          </p:cNvSpPr>
          <p:nvPr>
            <p:ph type="body" sz="quarter" idx="13"/>
          </p:nvPr>
        </p:nvSpPr>
        <p:spPr/>
        <p:txBody>
          <a:bodyPr/>
          <a:lstStyle/>
          <a:p>
            <a:r>
              <a:rPr lang="en-US" dirty="0"/>
              <a:t>Sales and Gross Profit (Planning) </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1514683088"/>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en-US" sz="700" b="0" i="0" u="none" strike="noStrike" cap="none" normalizeH="0" baseline="0" noProof="0" dirty="0" smtClean="0">
                          <a:ln>
                            <a:noFill/>
                          </a:ln>
                          <a:solidFill>
                            <a:schemeClr val="tx1"/>
                          </a:solidFill>
                          <a:effectLst/>
                          <a:latin typeface="+mn-lt"/>
                        </a:rPr>
                        <a:t>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1">
            <a:duotone>
              <a:schemeClr val="bg2">
                <a:shade val="45000"/>
                <a:satMod val="135000"/>
              </a:schemeClr>
              <a:prstClr val="white"/>
            </a:duotone>
          </a:blip>
          <a:stretch>
            <a:fillRect/>
          </a:stretch>
        </p:blipFill>
        <p:spPr>
          <a:xfrm>
            <a:off x="7132320" y="5701816"/>
            <a:ext cx="340197" cy="405178"/>
          </a:xfrm>
          <a:prstGeom prst="rect">
            <a:avLst/>
          </a:prstGeom>
        </p:spPr>
      </p:pic>
      <p:pic>
        <p:nvPicPr>
          <p:cNvPr id="20" name="Grafik 19"/>
          <p:cNvPicPr>
            <a:picLocks noChangeAspect="1"/>
          </p:cNvPicPr>
          <p:nvPr/>
        </p:nvPicPr>
        <p:blipFill>
          <a:blip r:embed="rId12"/>
          <a:stretch>
            <a:fillRect/>
          </a:stretch>
        </p:blipFill>
        <p:spPr>
          <a:xfrm>
            <a:off x="7415936" y="5701816"/>
            <a:ext cx="340197" cy="405178"/>
          </a:xfrm>
          <a:prstGeom prst="rect">
            <a:avLst/>
          </a:prstGeom>
        </p:spPr>
      </p:pic>
      <p:pic>
        <p:nvPicPr>
          <p:cNvPr id="21" name="Grafik 20"/>
          <p:cNvPicPr>
            <a:picLocks noChangeAspect="1"/>
          </p:cNvPicPr>
          <p:nvPr/>
        </p:nvPicPr>
        <p:blipFill>
          <a:blip r:embed="rId13"/>
          <a:stretch>
            <a:fillRect/>
          </a:stretch>
        </p:blipFill>
        <p:spPr>
          <a:xfrm>
            <a:off x="7699552" y="5701816"/>
            <a:ext cx="340197" cy="405178"/>
          </a:xfrm>
          <a:prstGeom prst="rect">
            <a:avLst/>
          </a:prstGeom>
        </p:spPr>
      </p:pic>
      <p:pic>
        <p:nvPicPr>
          <p:cNvPr id="22" name="Grafik 21"/>
          <p:cNvPicPr>
            <a:picLocks noChangeAspect="1"/>
          </p:cNvPicPr>
          <p:nvPr/>
        </p:nvPicPr>
        <p:blipFill>
          <a:blip r:embed="rId14">
            <a:duotone>
              <a:schemeClr val="bg2">
                <a:shade val="45000"/>
                <a:satMod val="135000"/>
              </a:schemeClr>
              <a:prstClr val="white"/>
            </a:duotone>
          </a:blip>
          <a:stretch>
            <a:fillRect/>
          </a:stretch>
        </p:blipFill>
        <p:spPr>
          <a:xfrm>
            <a:off x="7983168" y="5701816"/>
            <a:ext cx="340197" cy="405178"/>
          </a:xfrm>
          <a:prstGeom prst="rect">
            <a:avLst/>
          </a:prstGeom>
        </p:spPr>
      </p:pic>
      <p:pic>
        <p:nvPicPr>
          <p:cNvPr id="23" name="Grafik 22"/>
          <p:cNvPicPr>
            <a:picLocks noChangeAspect="1"/>
          </p:cNvPicPr>
          <p:nvPr/>
        </p:nvPicPr>
        <p:blipFill>
          <a:blip r:embed="rId15">
            <a:duotone>
              <a:schemeClr val="bg2">
                <a:shade val="45000"/>
                <a:satMod val="135000"/>
              </a:schemeClr>
              <a:prstClr val="white"/>
            </a:duotone>
          </a:blip>
          <a:stretch>
            <a:fillRect/>
          </a:stretch>
        </p:blipFill>
        <p:spPr>
          <a:xfrm>
            <a:off x="8266784" y="5701816"/>
            <a:ext cx="340197" cy="405178"/>
          </a:xfrm>
          <a:prstGeom prst="rect">
            <a:avLst/>
          </a:prstGeom>
        </p:spPr>
      </p:pic>
      <p:pic>
        <p:nvPicPr>
          <p:cNvPr id="24" name="Grafik 23"/>
          <p:cNvPicPr>
            <a:picLocks noChangeAspect="1"/>
          </p:cNvPicPr>
          <p:nvPr/>
        </p:nvPicPr>
        <p:blipFill>
          <a:blip r:embed="rId16">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roduction volume and degree of </a:t>
            </a:r>
            <a:r>
              <a:rPr lang="en-US" sz="900" kern="0" dirty="0" smtClean="0">
                <a:latin typeface="Arial" panose="020B0604020202020204" pitchFamily="34" charset="0"/>
                <a:cs typeface="Arial" panose="020B0604020202020204" pitchFamily="34" charset="0"/>
              </a:rPr>
              <a:t>utilization</a:t>
            </a:r>
            <a:endParaRPr lang="en-US" sz="900" kern="0" dirty="0">
              <a:latin typeface="Arial" panose="020B0604020202020204" pitchFamily="34" charset="0"/>
              <a:cs typeface="Arial" panose="020B0604020202020204" pitchFamily="34" charset="0"/>
            </a:endParaRPr>
          </a:p>
        </p:txBody>
      </p:sp>
      <p:pic>
        <p:nvPicPr>
          <p:cNvPr id="30" name="Grafik 29"/>
          <p:cNvPicPr>
            <a:picLocks/>
          </p:cNvPicPr>
          <p:nvPr/>
        </p:nvPicPr>
        <p:blipFill>
          <a:blip r:embed="rId17">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8">
            <a:duotone>
              <a:schemeClr val="bg2">
                <a:shade val="45000"/>
                <a:satMod val="135000"/>
              </a:schemeClr>
              <a:prstClr val="white"/>
            </a:duotone>
          </a:blip>
          <a:stretch>
            <a:fillRect/>
          </a:stretch>
        </p:blipFill>
        <p:spPr>
          <a:xfrm>
            <a:off x="8834016" y="5701816"/>
            <a:ext cx="340197" cy="405178"/>
          </a:xfrm>
          <a:prstGeom prst="rect">
            <a:avLst/>
          </a:prstGeom>
        </p:spPr>
      </p:pic>
      <p:sp>
        <p:nvSpPr>
          <p:cNvPr id="25" name="Rectangle 4"/>
          <p:cNvSpPr>
            <a:spLocks noChangeArrowheads="1"/>
          </p:cNvSpPr>
          <p:nvPr>
            <p:custDataLst>
              <p:tags r:id="rId3"/>
            </p:custDataLst>
          </p:nvPr>
        </p:nvSpPr>
        <p:spPr bwMode="gray">
          <a:xfrm>
            <a:off x="7763608" y="5454591"/>
            <a:ext cx="1653442" cy="223679"/>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f applicable presentation at the segment level, or such</a:t>
            </a:r>
          </a:p>
        </p:txBody>
      </p:sp>
      <p:pic>
        <p:nvPicPr>
          <p:cNvPr id="7" name="Grafik 6"/>
          <p:cNvPicPr>
            <a:picLocks noChangeAspect="1"/>
          </p:cNvPicPr>
          <p:nvPr>
            <p:custDataLst>
              <p:tags r:id="rId4"/>
            </p:custDataLst>
          </p:nvPr>
        </p:nvPicPr>
        <p:blipFill rotWithShape="1">
          <a:blip r:embed="rId19"/>
          <a:srcRect l="1010" t="13107" r="28654" b="12603"/>
          <a:stretch/>
        </p:blipFill>
        <p:spPr>
          <a:xfrm>
            <a:off x="2446337" y="1819275"/>
            <a:ext cx="3398835" cy="1803491"/>
          </a:xfrm>
          <a:prstGeom prst="rect">
            <a:avLst/>
          </a:prstGeom>
        </p:spPr>
      </p:pic>
      <p:grpSp>
        <p:nvGrpSpPr>
          <p:cNvPr id="27" name="Group 2"/>
          <p:cNvGrpSpPr/>
          <p:nvPr>
            <p:custDataLst>
              <p:tags r:id="rId5"/>
            </p:custDataLst>
          </p:nvPr>
        </p:nvGrpSpPr>
        <p:grpSpPr>
          <a:xfrm>
            <a:off x="3056708" y="1645920"/>
            <a:ext cx="2177143" cy="1532709"/>
            <a:chOff x="-755730" y="5561012"/>
            <a:chExt cx="2174657" cy="1624013"/>
          </a:xfrm>
        </p:grpSpPr>
        <p:sp>
          <p:nvSpPr>
            <p:cNvPr id="28" name="Rectangle 2"/>
            <p:cNvSpPr>
              <a:spLocks noChangeArrowheads="1"/>
            </p:cNvSpPr>
            <p:nvPr>
              <p:custDataLst>
                <p:tags r:id="rId7"/>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9" name="Rectangle 2"/>
            <p:cNvSpPr>
              <a:spLocks noChangeArrowheads="1"/>
            </p:cNvSpPr>
            <p:nvPr>
              <p:custDataLst>
                <p:tags r:id="rId8"/>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8" name="Grafik 7"/>
          <p:cNvPicPr>
            <a:picLocks noChangeAspect="1"/>
          </p:cNvPicPr>
          <p:nvPr>
            <p:custDataLst>
              <p:tags r:id="rId6"/>
            </p:custDataLst>
          </p:nvPr>
        </p:nvPicPr>
        <p:blipFill>
          <a:blip r:embed="rId20"/>
          <a:stretch>
            <a:fillRect/>
          </a:stretch>
        </p:blipFill>
        <p:spPr>
          <a:xfrm>
            <a:off x="-2793400" y="2342178"/>
            <a:ext cx="2024047" cy="2225233"/>
          </a:xfrm>
          <a:prstGeom prst="rect">
            <a:avLst/>
          </a:prstGeom>
        </p:spPr>
      </p:pic>
    </p:spTree>
    <p:extLst>
      <p:ext uri="{BB962C8B-B14F-4D97-AF65-F5344CB8AC3E}">
        <p14:creationId xmlns:p14="http://schemas.microsoft.com/office/powerpoint/2010/main" val="359958289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smtClean="0"/>
              <a:t>The expected gross profit margin of the XXX AG is above the average margin of comparable companies due to scale effects.</a:t>
            </a:r>
          </a:p>
          <a:p>
            <a:r>
              <a:rPr lang="en-US" noProof="0" dirty="0" smtClean="0"/>
              <a:t>As a result of the size of the XXX AG we consider the planned scale effects to be realizable.</a:t>
            </a:r>
            <a:endParaRPr lang="en-US" noProof="0" dirty="0"/>
          </a:p>
        </p:txBody>
      </p:sp>
      <p:sp>
        <p:nvSpPr>
          <p:cNvPr id="5" name="Textplatzhalter 4"/>
          <p:cNvSpPr>
            <a:spLocks noGrp="1"/>
          </p:cNvSpPr>
          <p:nvPr>
            <p:ph type="body" sz="quarter" idx="12"/>
          </p:nvPr>
        </p:nvSpPr>
        <p:spPr>
          <a:xfrm>
            <a:off x="6022732" y="1422400"/>
            <a:ext cx="3407958" cy="4604400"/>
          </a:xfrm>
        </p:spPr>
        <p:txBody>
          <a:bodyPr/>
          <a:lstStyle/>
          <a:p>
            <a:r>
              <a:rPr lang="en-US" noProof="0" dirty="0" smtClean="0"/>
              <a:t>Comparison of gross profit margin</a:t>
            </a:r>
          </a:p>
          <a:p>
            <a:pPr lvl="2"/>
            <a:r>
              <a:rPr lang="en-US" noProof="0" dirty="0" smtClean="0"/>
              <a:t>The expected gross profit margin of the XXX AG is within the range of the margins of comparable companies and above the average of the peer group.</a:t>
            </a:r>
          </a:p>
          <a:p>
            <a:pPr lvl="2"/>
            <a:r>
              <a:rPr lang="en-US" noProof="0" dirty="0" smtClean="0"/>
              <a:t>The above-average gross profit margin is primarily attributable to scale effects/purchasing advantages/XXX. Larger companies are in a position to achieve a higher gross profit margin.</a:t>
            </a:r>
          </a:p>
          <a:p>
            <a:pPr lvl="2"/>
            <a:r>
              <a:rPr lang="en-US" noProof="0" dirty="0" smtClean="0"/>
              <a:t>As a result of the increasing scale effects/purchasing advantages/XXX in the course of planning, the distance of the XXX AG gross profit margin to that of the peer group average increases in the course of planning.</a:t>
            </a:r>
            <a:endParaRPr lang="en-US" noProof="0" dirty="0"/>
          </a:p>
        </p:txBody>
      </p:sp>
      <p:sp>
        <p:nvSpPr>
          <p:cNvPr id="4" name="Titel 3"/>
          <p:cNvSpPr>
            <a:spLocks noGrp="1"/>
          </p:cNvSpPr>
          <p:nvPr>
            <p:ph type="title"/>
          </p:nvPr>
        </p:nvSpPr>
        <p:spPr/>
        <p:txBody>
          <a:bodyPr/>
          <a:lstStyle/>
          <a:p>
            <a:r>
              <a:rPr lang="en-US" noProof="0" dirty="0"/>
              <a:t>6. Is the gross profit margin comparable to that of the past and margins achieved by the peer group companies or other market data? (1/3)</a:t>
            </a:r>
          </a:p>
        </p:txBody>
      </p:sp>
      <p:sp>
        <p:nvSpPr>
          <p:cNvPr id="3" name="Textplatzhalter 2"/>
          <p:cNvSpPr>
            <a:spLocks noGrp="1"/>
          </p:cNvSpPr>
          <p:nvPr>
            <p:ph type="body" sz="quarter" idx="13"/>
          </p:nvPr>
        </p:nvSpPr>
        <p:spPr/>
        <p:txBody>
          <a:bodyPr/>
          <a:lstStyle/>
          <a:p>
            <a:r>
              <a:rPr lang="en-US" noProof="0" dirty="0"/>
              <a:t>Sales and Gross Profit (Planning) </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1"/>
          <a:stretch>
            <a:fillRect/>
          </a:stretch>
        </p:blipFill>
        <p:spPr>
          <a:xfrm>
            <a:off x="7132320" y="5701816"/>
            <a:ext cx="340197" cy="405178"/>
          </a:xfrm>
          <a:prstGeom prst="rect">
            <a:avLst/>
          </a:prstGeom>
        </p:spPr>
      </p:pic>
      <p:pic>
        <p:nvPicPr>
          <p:cNvPr id="20" name="Grafik 19"/>
          <p:cNvPicPr>
            <a:picLocks noChangeAspect="1"/>
          </p:cNvPicPr>
          <p:nvPr/>
        </p:nvPicPr>
        <p:blipFill>
          <a:blip r:embed="rId12"/>
          <a:stretch>
            <a:fillRect/>
          </a:stretch>
        </p:blipFill>
        <p:spPr>
          <a:xfrm>
            <a:off x="7415936" y="5701816"/>
            <a:ext cx="340197" cy="405178"/>
          </a:xfrm>
          <a:prstGeom prst="rect">
            <a:avLst/>
          </a:prstGeom>
        </p:spPr>
      </p:pic>
      <p:pic>
        <p:nvPicPr>
          <p:cNvPr id="21" name="Grafik 20"/>
          <p:cNvPicPr>
            <a:picLocks noChangeAspect="1"/>
          </p:cNvPicPr>
          <p:nvPr/>
        </p:nvPicPr>
        <p:blipFill>
          <a:blip r:embed="rId13"/>
          <a:stretch>
            <a:fillRect/>
          </a:stretch>
        </p:blipFill>
        <p:spPr>
          <a:xfrm>
            <a:off x="7699552" y="5701816"/>
            <a:ext cx="340197" cy="405178"/>
          </a:xfrm>
          <a:prstGeom prst="rect">
            <a:avLst/>
          </a:prstGeom>
        </p:spPr>
      </p:pic>
      <p:pic>
        <p:nvPicPr>
          <p:cNvPr id="22" name="Grafik 21"/>
          <p:cNvPicPr>
            <a:picLocks noChangeAspect="1"/>
          </p:cNvPicPr>
          <p:nvPr/>
        </p:nvPicPr>
        <p:blipFill>
          <a:blip r:embed="rId14"/>
          <a:stretch>
            <a:fillRect/>
          </a:stretch>
        </p:blipFill>
        <p:spPr>
          <a:xfrm>
            <a:off x="7983168" y="5701816"/>
            <a:ext cx="340197" cy="405178"/>
          </a:xfrm>
          <a:prstGeom prst="rect">
            <a:avLst/>
          </a:prstGeom>
        </p:spPr>
      </p:pic>
      <p:pic>
        <p:nvPicPr>
          <p:cNvPr id="23" name="Grafik 22"/>
          <p:cNvPicPr>
            <a:picLocks noChangeAspect="1"/>
          </p:cNvPicPr>
          <p:nvPr/>
        </p:nvPicPr>
        <p:blipFill>
          <a:blip r:embed="rId15">
            <a:duotone>
              <a:schemeClr val="bg2">
                <a:shade val="45000"/>
                <a:satMod val="135000"/>
              </a:schemeClr>
              <a:prstClr val="white"/>
            </a:duotone>
          </a:blip>
          <a:stretch>
            <a:fillRect/>
          </a:stretch>
        </p:blipFill>
        <p:spPr>
          <a:xfrm>
            <a:off x="8266784" y="5701816"/>
            <a:ext cx="340197" cy="405178"/>
          </a:xfrm>
          <a:prstGeom prst="rect">
            <a:avLst/>
          </a:prstGeom>
        </p:spPr>
      </p:pic>
      <p:pic>
        <p:nvPicPr>
          <p:cNvPr id="24" name="Grafik 23"/>
          <p:cNvPicPr>
            <a:picLocks noChangeAspect="1"/>
          </p:cNvPicPr>
          <p:nvPr/>
        </p:nvPicPr>
        <p:blipFill>
          <a:blip r:embed="rId16">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Gross profit margin in comparison to peer group</a:t>
            </a:r>
          </a:p>
        </p:txBody>
      </p:sp>
      <p:pic>
        <p:nvPicPr>
          <p:cNvPr id="30" name="Grafik 29"/>
          <p:cNvPicPr>
            <a:picLocks/>
          </p:cNvPicPr>
          <p:nvPr/>
        </p:nvPicPr>
        <p:blipFill>
          <a:blip r:embed="rId17">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8">
            <a:duotone>
              <a:schemeClr val="bg2">
                <a:shade val="45000"/>
                <a:satMod val="135000"/>
              </a:schemeClr>
              <a:prstClr val="white"/>
            </a:duotone>
          </a:blip>
          <a:stretch>
            <a:fillRect/>
          </a:stretch>
        </p:blipFill>
        <p:spPr>
          <a:xfrm>
            <a:off x="8834016" y="5701816"/>
            <a:ext cx="340197" cy="405178"/>
          </a:xfrm>
          <a:prstGeom prst="rect">
            <a:avLst/>
          </a:prstGeom>
        </p:spPr>
      </p:pic>
      <p:sp>
        <p:nvSpPr>
          <p:cNvPr id="25" name="Rectangle 4"/>
          <p:cNvSpPr>
            <a:spLocks noChangeArrowheads="1"/>
          </p:cNvSpPr>
          <p:nvPr>
            <p:custDataLst>
              <p:tags r:id="rId3"/>
            </p:custDataLst>
          </p:nvPr>
        </p:nvSpPr>
        <p:spPr bwMode="gray">
          <a:xfrm>
            <a:off x="7763608" y="5454591"/>
            <a:ext cx="1653442" cy="223679"/>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f applicable presentation at the segment level, or such</a:t>
            </a:r>
          </a:p>
        </p:txBody>
      </p:sp>
      <p:sp>
        <p:nvSpPr>
          <p:cNvPr id="33" name="Text Placeholder 12"/>
          <p:cNvSpPr txBox="1">
            <a:spLocks/>
          </p:cNvSpPr>
          <p:nvPr>
            <p:custDataLst>
              <p:tags r:id="rId4"/>
            </p:custDataLst>
          </p:nvPr>
        </p:nvSpPr>
        <p:spPr>
          <a:xfrm>
            <a:off x="2447923" y="3817257"/>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AGR Sales/ø Gross profit margin (3 </a:t>
            </a:r>
            <a:r>
              <a:rPr lang="en-US" sz="900" kern="0" dirty="0" smtClean="0">
                <a:latin typeface="Arial" panose="020B0604020202020204" pitchFamily="34" charset="0"/>
                <a:cs typeface="Arial" panose="020B0604020202020204" pitchFamily="34" charset="0"/>
              </a:rPr>
              <a:t>years) in comparison to peer group</a:t>
            </a:r>
            <a:endParaRPr lang="en-US" sz="900" kern="0" dirty="0">
              <a:latin typeface="Arial" panose="020B0604020202020204" pitchFamily="34" charset="0"/>
              <a:cs typeface="Arial" panose="020B0604020202020204" pitchFamily="34" charset="0"/>
            </a:endParaRPr>
          </a:p>
        </p:txBody>
      </p:sp>
      <p:pic>
        <p:nvPicPr>
          <p:cNvPr id="15" name="Grafik 14"/>
          <p:cNvPicPr>
            <a:picLocks noChangeAspect="1"/>
          </p:cNvPicPr>
          <p:nvPr>
            <p:custDataLst>
              <p:tags r:id="rId5"/>
            </p:custDataLst>
          </p:nvPr>
        </p:nvPicPr>
        <p:blipFill rotWithShape="1">
          <a:blip r:embed="rId19"/>
          <a:srcRect l="4196" t="12120" b="12287"/>
          <a:stretch/>
        </p:blipFill>
        <p:spPr>
          <a:xfrm>
            <a:off x="2447109" y="4066902"/>
            <a:ext cx="3365188" cy="1976847"/>
          </a:xfrm>
          <a:prstGeom prst="rect">
            <a:avLst/>
          </a:prstGeom>
        </p:spPr>
      </p:pic>
      <p:pic>
        <p:nvPicPr>
          <p:cNvPr id="7" name="Grafik 6"/>
          <p:cNvPicPr>
            <a:picLocks noChangeAspect="1"/>
          </p:cNvPicPr>
          <p:nvPr>
            <p:custDataLst>
              <p:tags r:id="rId6"/>
            </p:custDataLst>
          </p:nvPr>
        </p:nvPicPr>
        <p:blipFill>
          <a:blip r:embed="rId20"/>
          <a:stretch>
            <a:fillRect/>
          </a:stretch>
        </p:blipFill>
        <p:spPr>
          <a:xfrm>
            <a:off x="-2793400" y="1422400"/>
            <a:ext cx="1999661" cy="2225233"/>
          </a:xfrm>
          <a:prstGeom prst="rect">
            <a:avLst/>
          </a:prstGeom>
        </p:spPr>
      </p:pic>
      <p:pic>
        <p:nvPicPr>
          <p:cNvPr id="10" name="Grafik 9"/>
          <p:cNvPicPr>
            <a:picLocks noChangeAspect="1"/>
          </p:cNvPicPr>
          <p:nvPr>
            <p:custDataLst>
              <p:tags r:id="rId7"/>
            </p:custDataLst>
          </p:nvPr>
        </p:nvPicPr>
        <p:blipFill>
          <a:blip r:embed="rId21"/>
          <a:stretch>
            <a:fillRect/>
          </a:stretch>
        </p:blipFill>
        <p:spPr>
          <a:xfrm>
            <a:off x="-2793400" y="4268844"/>
            <a:ext cx="1999661" cy="2225233"/>
          </a:xfrm>
          <a:prstGeom prst="rect">
            <a:avLst/>
          </a:prstGeom>
        </p:spPr>
      </p:pic>
      <p:pic>
        <p:nvPicPr>
          <p:cNvPr id="12" name="Grafik 11"/>
          <p:cNvPicPr>
            <a:picLocks noChangeAspect="1"/>
          </p:cNvPicPr>
          <p:nvPr>
            <p:custDataLst>
              <p:tags r:id="rId8"/>
            </p:custDataLst>
          </p:nvPr>
        </p:nvPicPr>
        <p:blipFill>
          <a:blip r:embed="rId22"/>
          <a:stretch>
            <a:fillRect/>
          </a:stretch>
        </p:blipFill>
        <p:spPr>
          <a:xfrm>
            <a:off x="2294182" y="1524663"/>
            <a:ext cx="4437558" cy="2729386"/>
          </a:xfrm>
          <a:prstGeom prst="rect">
            <a:avLst/>
          </a:prstGeom>
        </p:spPr>
      </p:pic>
    </p:spTree>
    <p:extLst>
      <p:ext uri="{BB962C8B-B14F-4D97-AF65-F5344CB8AC3E}">
        <p14:creationId xmlns:p14="http://schemas.microsoft.com/office/powerpoint/2010/main" val="130058436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smtClean="0"/>
              <a:t>Based on the comparison of analysts’ forecasts, the expected XXX AG gross profit margin appears ambitious.</a:t>
            </a:r>
            <a:endParaRPr lang="en-US" noProof="0" dirty="0"/>
          </a:p>
        </p:txBody>
      </p:sp>
      <p:sp>
        <p:nvSpPr>
          <p:cNvPr id="5" name="Textplatzhalter 4"/>
          <p:cNvSpPr>
            <a:spLocks noGrp="1"/>
          </p:cNvSpPr>
          <p:nvPr>
            <p:ph type="body" sz="quarter" idx="12"/>
          </p:nvPr>
        </p:nvSpPr>
        <p:spPr>
          <a:xfrm>
            <a:off x="6022732" y="1422400"/>
            <a:ext cx="3407958" cy="4604400"/>
          </a:xfrm>
        </p:spPr>
        <p:txBody>
          <a:bodyPr/>
          <a:lstStyle/>
          <a:p>
            <a:r>
              <a:rPr lang="en-US" noProof="0" dirty="0" smtClean="0"/>
              <a:t>Comparison of gross profit margin</a:t>
            </a:r>
          </a:p>
          <a:p>
            <a:pPr lvl="2"/>
            <a:r>
              <a:rPr lang="en-US" noProof="0" dirty="0" smtClean="0"/>
              <a:t>The expected gross profits of the XXX AG are in the upper third of the analysts’ forecasts for the planning years.</a:t>
            </a:r>
          </a:p>
          <a:p>
            <a:pPr lvl="2"/>
            <a:r>
              <a:rPr lang="en-US" noProof="0" dirty="0" smtClean="0"/>
              <a:t>...</a:t>
            </a:r>
            <a:endParaRPr lang="en-US" noProof="0" dirty="0"/>
          </a:p>
        </p:txBody>
      </p:sp>
      <p:sp>
        <p:nvSpPr>
          <p:cNvPr id="4" name="Titel 3"/>
          <p:cNvSpPr>
            <a:spLocks noGrp="1"/>
          </p:cNvSpPr>
          <p:nvPr>
            <p:ph type="title"/>
          </p:nvPr>
        </p:nvSpPr>
        <p:spPr/>
        <p:txBody>
          <a:bodyPr/>
          <a:lstStyle/>
          <a:p>
            <a:r>
              <a:rPr lang="en-US" noProof="0" dirty="0"/>
              <a:t>6. Is the gross profit margin comparable to that of the past and margins achieved by the peer group companies or other market data? </a:t>
            </a:r>
            <a:r>
              <a:rPr lang="en-US" noProof="0" dirty="0" smtClean="0"/>
              <a:t>(2/3</a:t>
            </a:r>
            <a:r>
              <a:rPr lang="en-US" noProof="0" dirty="0"/>
              <a:t>)</a:t>
            </a:r>
          </a:p>
        </p:txBody>
      </p:sp>
      <p:sp>
        <p:nvSpPr>
          <p:cNvPr id="3" name="Textplatzhalter 2"/>
          <p:cNvSpPr>
            <a:spLocks noGrp="1"/>
          </p:cNvSpPr>
          <p:nvPr>
            <p:ph type="body" sz="quarter" idx="13"/>
          </p:nvPr>
        </p:nvSpPr>
        <p:spPr/>
        <p:txBody>
          <a:bodyPr/>
          <a:lstStyle/>
          <a:p>
            <a:r>
              <a:rPr lang="en-US" noProof="0" dirty="0"/>
              <a:t>Sales and Gross Profit (Planning) </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8"/>
          <a:stretch>
            <a:fillRect/>
          </a:stretch>
        </p:blipFill>
        <p:spPr>
          <a:xfrm>
            <a:off x="7132320" y="5701816"/>
            <a:ext cx="340197" cy="405178"/>
          </a:xfrm>
          <a:prstGeom prst="rect">
            <a:avLst/>
          </a:prstGeom>
        </p:spPr>
      </p:pic>
      <p:pic>
        <p:nvPicPr>
          <p:cNvPr id="20" name="Grafik 19"/>
          <p:cNvPicPr>
            <a:picLocks noChangeAspect="1"/>
          </p:cNvPicPr>
          <p:nvPr/>
        </p:nvPicPr>
        <p:blipFill>
          <a:blip r:embed="rId9"/>
          <a:stretch>
            <a:fillRect/>
          </a:stretch>
        </p:blipFill>
        <p:spPr>
          <a:xfrm>
            <a:off x="7415936" y="5701816"/>
            <a:ext cx="340197" cy="405178"/>
          </a:xfrm>
          <a:prstGeom prst="rect">
            <a:avLst/>
          </a:prstGeom>
        </p:spPr>
      </p:pic>
      <p:pic>
        <p:nvPicPr>
          <p:cNvPr id="21" name="Grafik 20"/>
          <p:cNvPicPr>
            <a:picLocks noChangeAspect="1"/>
          </p:cNvPicPr>
          <p:nvPr/>
        </p:nvPicPr>
        <p:blipFill>
          <a:blip r:embed="rId10"/>
          <a:stretch>
            <a:fillRect/>
          </a:stretch>
        </p:blipFill>
        <p:spPr>
          <a:xfrm>
            <a:off x="7699552" y="5701816"/>
            <a:ext cx="340197" cy="405178"/>
          </a:xfrm>
          <a:prstGeom prst="rect">
            <a:avLst/>
          </a:prstGeom>
        </p:spPr>
      </p:pic>
      <p:pic>
        <p:nvPicPr>
          <p:cNvPr id="22" name="Grafik 21"/>
          <p:cNvPicPr>
            <a:picLocks noChangeAspect="1"/>
          </p:cNvPicPr>
          <p:nvPr/>
        </p:nvPicPr>
        <p:blipFill>
          <a:blip r:embed="rId11"/>
          <a:stretch>
            <a:fillRect/>
          </a:stretch>
        </p:blipFill>
        <p:spPr>
          <a:xfrm>
            <a:off x="7983168" y="5701816"/>
            <a:ext cx="340197" cy="405178"/>
          </a:xfrm>
          <a:prstGeom prst="rect">
            <a:avLst/>
          </a:prstGeom>
        </p:spPr>
      </p:pic>
      <p:pic>
        <p:nvPicPr>
          <p:cNvPr id="23" name="Grafik 22"/>
          <p:cNvPicPr>
            <a:picLocks noChangeAspect="1"/>
          </p:cNvPicPr>
          <p:nvPr/>
        </p:nvPicPr>
        <p:blipFill>
          <a:blip r:embed="rId12">
            <a:duotone>
              <a:schemeClr val="bg2">
                <a:shade val="45000"/>
                <a:satMod val="135000"/>
              </a:schemeClr>
              <a:prstClr val="white"/>
            </a:duotone>
          </a:blip>
          <a:stretch>
            <a:fillRect/>
          </a:stretch>
        </p:blipFill>
        <p:spPr>
          <a:xfrm>
            <a:off x="8266784" y="5701816"/>
            <a:ext cx="340197" cy="405178"/>
          </a:xfrm>
          <a:prstGeom prst="rect">
            <a:avLst/>
          </a:prstGeom>
        </p:spPr>
      </p:pic>
      <p:pic>
        <p:nvPicPr>
          <p:cNvPr id="24" name="Grafik 23"/>
          <p:cNvPicPr>
            <a:picLocks noChangeAspect="1"/>
          </p:cNvPicPr>
          <p:nvPr/>
        </p:nvPicPr>
        <p:blipFill>
          <a:blip r:embed="rId13"/>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Gross profit margin in comparison to analysts' expectations</a:t>
            </a:r>
          </a:p>
        </p:txBody>
      </p:sp>
      <p:pic>
        <p:nvPicPr>
          <p:cNvPr id="30" name="Grafik 29"/>
          <p:cNvPicPr>
            <a:picLocks/>
          </p:cNvPicPr>
          <p:nvPr/>
        </p:nvPicPr>
        <p:blipFill>
          <a:blip r:embed="rId14">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5"/>
          <a:stretch>
            <a:fillRect/>
          </a:stretch>
        </p:blipFill>
        <p:spPr>
          <a:xfrm>
            <a:off x="8834016" y="5701816"/>
            <a:ext cx="340197" cy="405178"/>
          </a:xfrm>
          <a:prstGeom prst="rect">
            <a:avLst/>
          </a:prstGeom>
        </p:spPr>
      </p:pic>
      <p:sp>
        <p:nvSpPr>
          <p:cNvPr id="25" name="Rectangle 4"/>
          <p:cNvSpPr>
            <a:spLocks noChangeArrowheads="1"/>
          </p:cNvSpPr>
          <p:nvPr>
            <p:custDataLst>
              <p:tags r:id="rId3"/>
            </p:custDataLst>
          </p:nvPr>
        </p:nvSpPr>
        <p:spPr bwMode="gray">
          <a:xfrm>
            <a:off x="7763608" y="5454591"/>
            <a:ext cx="1653442" cy="223679"/>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f applicable presentation at the segment level, or such</a:t>
            </a:r>
          </a:p>
        </p:txBody>
      </p:sp>
      <p:pic>
        <p:nvPicPr>
          <p:cNvPr id="2" name="Grafik 1"/>
          <p:cNvPicPr>
            <a:picLocks noChangeAspect="1"/>
          </p:cNvPicPr>
          <p:nvPr>
            <p:custDataLst>
              <p:tags r:id="rId4"/>
            </p:custDataLst>
          </p:nvPr>
        </p:nvPicPr>
        <p:blipFill rotWithShape="1">
          <a:blip r:embed="rId16"/>
          <a:srcRect l="3318" t="11071" r="20107" b="20951"/>
          <a:stretch/>
        </p:blipFill>
        <p:spPr>
          <a:xfrm>
            <a:off x="2447109" y="1715589"/>
            <a:ext cx="3398064" cy="1907178"/>
          </a:xfrm>
          <a:prstGeom prst="rect">
            <a:avLst/>
          </a:prstGeom>
        </p:spPr>
      </p:pic>
      <p:pic>
        <p:nvPicPr>
          <p:cNvPr id="9" name="Grafik 8"/>
          <p:cNvPicPr>
            <a:picLocks noChangeAspect="1"/>
          </p:cNvPicPr>
          <p:nvPr>
            <p:custDataLst>
              <p:tags r:id="rId5"/>
            </p:custDataLst>
          </p:nvPr>
        </p:nvPicPr>
        <p:blipFill>
          <a:blip r:embed="rId17"/>
          <a:stretch>
            <a:fillRect/>
          </a:stretch>
        </p:blipFill>
        <p:spPr>
          <a:xfrm>
            <a:off x="-2793400" y="2153208"/>
            <a:ext cx="1999661" cy="2225233"/>
          </a:xfrm>
          <a:prstGeom prst="rect">
            <a:avLst/>
          </a:prstGeom>
        </p:spPr>
      </p:pic>
    </p:spTree>
    <p:extLst>
      <p:ext uri="{BB962C8B-B14F-4D97-AF65-F5344CB8AC3E}">
        <p14:creationId xmlns:p14="http://schemas.microsoft.com/office/powerpoint/2010/main" val="4063435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The expected increase of the gross profit margin is primarily impacted by a reduction of the unit costs resulting from fixed cost digression.</a:t>
            </a:r>
            <a:endParaRPr lang="en-US" dirty="0"/>
          </a:p>
        </p:txBody>
      </p:sp>
      <p:sp>
        <p:nvSpPr>
          <p:cNvPr id="5" name="Textplatzhalter 4"/>
          <p:cNvSpPr>
            <a:spLocks noGrp="1"/>
          </p:cNvSpPr>
          <p:nvPr>
            <p:ph type="body" sz="quarter" idx="12"/>
          </p:nvPr>
        </p:nvSpPr>
        <p:spPr>
          <a:xfrm>
            <a:off x="6022732" y="1422400"/>
            <a:ext cx="3407958" cy="4604400"/>
          </a:xfrm>
        </p:spPr>
        <p:txBody>
          <a:bodyPr/>
          <a:lstStyle/>
          <a:p>
            <a:r>
              <a:rPr lang="en-US" dirty="0" smtClean="0"/>
              <a:t>XXX</a:t>
            </a:r>
          </a:p>
          <a:p>
            <a:pPr lvl="2"/>
            <a:r>
              <a:rPr lang="en-US" dirty="0" smtClean="0"/>
              <a:t>XXX</a:t>
            </a:r>
            <a:endParaRPr lang="en-US" dirty="0"/>
          </a:p>
        </p:txBody>
      </p:sp>
      <p:sp>
        <p:nvSpPr>
          <p:cNvPr id="4" name="Titel 3"/>
          <p:cNvSpPr>
            <a:spLocks noGrp="1"/>
          </p:cNvSpPr>
          <p:nvPr>
            <p:ph type="title"/>
          </p:nvPr>
        </p:nvSpPr>
        <p:spPr/>
        <p:txBody>
          <a:bodyPr/>
          <a:lstStyle/>
          <a:p>
            <a:r>
              <a:rPr lang="en-US" dirty="0"/>
              <a:t>6. Is the gross profit margin comparable to that of the past and margins achieved by the peer group companies or other market data? </a:t>
            </a:r>
            <a:r>
              <a:rPr lang="en-US" dirty="0" smtClean="0"/>
              <a:t>(3/3</a:t>
            </a:r>
            <a:r>
              <a:rPr lang="en-US" dirty="0"/>
              <a:t>)</a:t>
            </a:r>
          </a:p>
        </p:txBody>
      </p:sp>
      <p:sp>
        <p:nvSpPr>
          <p:cNvPr id="3" name="Textplatzhalter 2"/>
          <p:cNvSpPr>
            <a:spLocks noGrp="1"/>
          </p:cNvSpPr>
          <p:nvPr>
            <p:ph type="body" sz="quarter" idx="13"/>
          </p:nvPr>
        </p:nvSpPr>
        <p:spPr/>
        <p:txBody>
          <a:bodyPr/>
          <a:lstStyle/>
          <a:p>
            <a:r>
              <a:rPr lang="en-US" dirty="0"/>
              <a:t>Sales and Gross Profit (Planning) </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1086269949"/>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1"/>
          <a:stretch>
            <a:fillRect/>
          </a:stretch>
        </p:blipFill>
        <p:spPr>
          <a:xfrm>
            <a:off x="7132320" y="5701816"/>
            <a:ext cx="340197" cy="405178"/>
          </a:xfrm>
          <a:prstGeom prst="rect">
            <a:avLst/>
          </a:prstGeom>
        </p:spPr>
      </p:pic>
      <p:pic>
        <p:nvPicPr>
          <p:cNvPr id="20" name="Grafik 19"/>
          <p:cNvPicPr>
            <a:picLocks noChangeAspect="1"/>
          </p:cNvPicPr>
          <p:nvPr/>
        </p:nvPicPr>
        <p:blipFill>
          <a:blip r:embed="rId12"/>
          <a:stretch>
            <a:fillRect/>
          </a:stretch>
        </p:blipFill>
        <p:spPr>
          <a:xfrm>
            <a:off x="7415936" y="5701816"/>
            <a:ext cx="340197" cy="405178"/>
          </a:xfrm>
          <a:prstGeom prst="rect">
            <a:avLst/>
          </a:prstGeom>
        </p:spPr>
      </p:pic>
      <p:pic>
        <p:nvPicPr>
          <p:cNvPr id="21" name="Grafik 20"/>
          <p:cNvPicPr>
            <a:picLocks noChangeAspect="1"/>
          </p:cNvPicPr>
          <p:nvPr/>
        </p:nvPicPr>
        <p:blipFill>
          <a:blip r:embed="rId13"/>
          <a:stretch>
            <a:fillRect/>
          </a:stretch>
        </p:blipFill>
        <p:spPr>
          <a:xfrm>
            <a:off x="7699552" y="5701816"/>
            <a:ext cx="340197" cy="405178"/>
          </a:xfrm>
          <a:prstGeom prst="rect">
            <a:avLst/>
          </a:prstGeom>
        </p:spPr>
      </p:pic>
      <p:pic>
        <p:nvPicPr>
          <p:cNvPr id="22" name="Grafik 21"/>
          <p:cNvPicPr>
            <a:picLocks noChangeAspect="1"/>
          </p:cNvPicPr>
          <p:nvPr/>
        </p:nvPicPr>
        <p:blipFill>
          <a:blip r:embed="rId14"/>
          <a:stretch>
            <a:fillRect/>
          </a:stretch>
        </p:blipFill>
        <p:spPr>
          <a:xfrm>
            <a:off x="7983168" y="5701816"/>
            <a:ext cx="340197" cy="405178"/>
          </a:xfrm>
          <a:prstGeom prst="rect">
            <a:avLst/>
          </a:prstGeom>
        </p:spPr>
      </p:pic>
      <p:pic>
        <p:nvPicPr>
          <p:cNvPr id="23" name="Grafik 22"/>
          <p:cNvPicPr>
            <a:picLocks noChangeAspect="1"/>
          </p:cNvPicPr>
          <p:nvPr/>
        </p:nvPicPr>
        <p:blipFill>
          <a:blip r:embed="rId15">
            <a:duotone>
              <a:schemeClr val="bg2">
                <a:shade val="45000"/>
                <a:satMod val="135000"/>
              </a:schemeClr>
              <a:prstClr val="white"/>
            </a:duotone>
          </a:blip>
          <a:stretch>
            <a:fillRect/>
          </a:stretch>
        </p:blipFill>
        <p:spPr>
          <a:xfrm>
            <a:off x="8266784" y="5701816"/>
            <a:ext cx="340197" cy="405178"/>
          </a:xfrm>
          <a:prstGeom prst="rect">
            <a:avLst/>
          </a:prstGeom>
        </p:spPr>
      </p:pic>
      <p:pic>
        <p:nvPicPr>
          <p:cNvPr id="24" name="Grafik 23"/>
          <p:cNvPicPr>
            <a:picLocks noChangeAspect="1"/>
          </p:cNvPicPr>
          <p:nvPr/>
        </p:nvPicPr>
        <p:blipFill>
          <a:blip r:embed="rId16"/>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velopment of unit cost</a:t>
            </a:r>
          </a:p>
        </p:txBody>
      </p:sp>
      <p:pic>
        <p:nvPicPr>
          <p:cNvPr id="30" name="Grafik 29"/>
          <p:cNvPicPr>
            <a:picLocks/>
          </p:cNvPicPr>
          <p:nvPr/>
        </p:nvPicPr>
        <p:blipFill>
          <a:blip r:embed="rId17">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8"/>
          <a:stretch>
            <a:fillRect/>
          </a:stretch>
        </p:blipFill>
        <p:spPr>
          <a:xfrm>
            <a:off x="8834016" y="5701816"/>
            <a:ext cx="340197" cy="405178"/>
          </a:xfrm>
          <a:prstGeom prst="rect">
            <a:avLst/>
          </a:prstGeom>
        </p:spPr>
      </p:pic>
      <p:sp>
        <p:nvSpPr>
          <p:cNvPr id="25" name="Rectangle 4"/>
          <p:cNvSpPr>
            <a:spLocks noChangeArrowheads="1"/>
          </p:cNvSpPr>
          <p:nvPr>
            <p:custDataLst>
              <p:tags r:id="rId3"/>
            </p:custDataLst>
          </p:nvPr>
        </p:nvSpPr>
        <p:spPr bwMode="gray">
          <a:xfrm>
            <a:off x="7763608" y="5454591"/>
            <a:ext cx="1653442" cy="223679"/>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f applicable presentation at the segment level, or such</a:t>
            </a:r>
          </a:p>
        </p:txBody>
      </p:sp>
      <p:pic>
        <p:nvPicPr>
          <p:cNvPr id="7" name="Grafik 6"/>
          <p:cNvPicPr>
            <a:picLocks noChangeAspect="1"/>
          </p:cNvPicPr>
          <p:nvPr>
            <p:custDataLst>
              <p:tags r:id="rId4"/>
            </p:custDataLst>
          </p:nvPr>
        </p:nvPicPr>
        <p:blipFill rotWithShape="1">
          <a:blip r:embed="rId19"/>
          <a:srcRect t="10838" r="24883" b="18136"/>
          <a:stretch/>
        </p:blipFill>
        <p:spPr>
          <a:xfrm>
            <a:off x="2503226" y="1724297"/>
            <a:ext cx="3340225" cy="1907177"/>
          </a:xfrm>
          <a:prstGeom prst="rect">
            <a:avLst/>
          </a:prstGeom>
        </p:spPr>
      </p:pic>
      <p:grpSp>
        <p:nvGrpSpPr>
          <p:cNvPr id="27" name="Group 2"/>
          <p:cNvGrpSpPr/>
          <p:nvPr>
            <p:custDataLst>
              <p:tags r:id="rId5"/>
            </p:custDataLst>
          </p:nvPr>
        </p:nvGrpSpPr>
        <p:grpSpPr>
          <a:xfrm>
            <a:off x="3230880" y="1611084"/>
            <a:ext cx="1854925" cy="1654629"/>
            <a:chOff x="-755730" y="5561012"/>
            <a:chExt cx="2174657" cy="1624013"/>
          </a:xfrm>
        </p:grpSpPr>
        <p:sp>
          <p:nvSpPr>
            <p:cNvPr id="28" name="Rectangle 2"/>
            <p:cNvSpPr>
              <a:spLocks noChangeArrowheads="1"/>
            </p:cNvSpPr>
            <p:nvPr>
              <p:custDataLst>
                <p:tags r:id="rId7"/>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9" name="Rectangle 2"/>
            <p:cNvSpPr>
              <a:spLocks noChangeArrowheads="1"/>
            </p:cNvSpPr>
            <p:nvPr>
              <p:custDataLst>
                <p:tags r:id="rId8"/>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8" name="Grafik 7"/>
          <p:cNvPicPr>
            <a:picLocks noChangeAspect="1"/>
          </p:cNvPicPr>
          <p:nvPr>
            <p:custDataLst>
              <p:tags r:id="rId6"/>
            </p:custDataLst>
          </p:nvPr>
        </p:nvPicPr>
        <p:blipFill>
          <a:blip r:embed="rId20"/>
          <a:stretch>
            <a:fillRect/>
          </a:stretch>
        </p:blipFill>
        <p:spPr>
          <a:xfrm>
            <a:off x="-2793400" y="2213404"/>
            <a:ext cx="2024047" cy="2225233"/>
          </a:xfrm>
          <a:prstGeom prst="rect">
            <a:avLst/>
          </a:prstGeom>
        </p:spPr>
      </p:pic>
    </p:spTree>
    <p:extLst>
      <p:ext uri="{BB962C8B-B14F-4D97-AF65-F5344CB8AC3E}">
        <p14:creationId xmlns:p14="http://schemas.microsoft.com/office/powerpoint/2010/main" val="1326198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XXX AG </a:t>
            </a:r>
            <a:r>
              <a:rPr lang="en-US" noProof="0" dirty="0" smtClean="0"/>
              <a:t>achieved</a:t>
            </a:r>
            <a:r>
              <a:rPr lang="en-US" noProof="0" dirty="0"/>
              <a:t> </a:t>
            </a:r>
            <a:r>
              <a:rPr lang="en-US" noProof="0" dirty="0" smtClean="0"/>
              <a:t>half </a:t>
            </a:r>
            <a:r>
              <a:rPr lang="en-US" noProof="0" dirty="0"/>
              <a:t>of the budget in the first six months of the year 2013. </a:t>
            </a:r>
            <a:r>
              <a:rPr lang="en-US" noProof="0" dirty="0" smtClean="0"/>
              <a:t>The </a:t>
            </a:r>
            <a:r>
              <a:rPr lang="en-US" noProof="0" dirty="0"/>
              <a:t>degree of budget achievement for the first six months was comparable to the level of the previous year</a:t>
            </a:r>
            <a:r>
              <a:rPr lang="en-US" noProof="0" dirty="0" smtClean="0"/>
              <a:t>.</a:t>
            </a:r>
            <a:endParaRPr lang="en-US" noProof="0" dirty="0"/>
          </a:p>
        </p:txBody>
      </p:sp>
      <p:sp>
        <p:nvSpPr>
          <p:cNvPr id="5" name="Textplatzhalter 4"/>
          <p:cNvSpPr>
            <a:spLocks noGrp="1"/>
          </p:cNvSpPr>
          <p:nvPr>
            <p:ph type="body" sz="quarter" idx="12"/>
          </p:nvPr>
        </p:nvSpPr>
        <p:spPr>
          <a:xfrm>
            <a:off x="6022732" y="1422400"/>
            <a:ext cx="3407958" cy="4604400"/>
          </a:xfrm>
        </p:spPr>
        <p:txBody>
          <a:bodyPr/>
          <a:lstStyle/>
          <a:p>
            <a:r>
              <a:rPr lang="en-US" noProof="0" dirty="0" smtClean="0"/>
              <a:t>XXX</a:t>
            </a:r>
          </a:p>
          <a:p>
            <a:pPr lvl="2"/>
            <a:r>
              <a:rPr lang="en-US" noProof="0" dirty="0" smtClean="0"/>
              <a:t>XXX</a:t>
            </a:r>
            <a:endParaRPr lang="en-US" noProof="0" dirty="0"/>
          </a:p>
        </p:txBody>
      </p:sp>
      <p:sp>
        <p:nvSpPr>
          <p:cNvPr id="4" name="Titel 3"/>
          <p:cNvSpPr>
            <a:spLocks noGrp="1"/>
          </p:cNvSpPr>
          <p:nvPr>
            <p:ph type="title"/>
          </p:nvPr>
        </p:nvSpPr>
        <p:spPr/>
        <p:txBody>
          <a:bodyPr/>
          <a:lstStyle/>
          <a:p>
            <a:r>
              <a:rPr lang="en-US" noProof="0" dirty="0"/>
              <a:t>7. Does the current trading/LTM or the current forecast support the sales and gross profit planning? (1/2)</a:t>
            </a:r>
          </a:p>
        </p:txBody>
      </p:sp>
      <p:sp>
        <p:nvSpPr>
          <p:cNvPr id="3" name="Textplatzhalter 2"/>
          <p:cNvSpPr>
            <a:spLocks noGrp="1"/>
          </p:cNvSpPr>
          <p:nvPr>
            <p:ph type="body" sz="quarter" idx="13"/>
          </p:nvPr>
        </p:nvSpPr>
        <p:spPr/>
        <p:txBody>
          <a:bodyPr/>
          <a:lstStyle/>
          <a:p>
            <a:r>
              <a:rPr lang="en-US" noProof="0" dirty="0"/>
              <a:t>Sales and Gross Profit (Planning) </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0">
            <a:duotone>
              <a:schemeClr val="bg2">
                <a:shade val="45000"/>
                <a:satMod val="135000"/>
              </a:schemeClr>
              <a:prstClr val="white"/>
            </a:duotone>
          </a:blip>
          <a:stretch>
            <a:fillRect/>
          </a:stretch>
        </p:blipFill>
        <p:spPr>
          <a:xfrm>
            <a:off x="7132320" y="5701816"/>
            <a:ext cx="340197" cy="405178"/>
          </a:xfrm>
          <a:prstGeom prst="rect">
            <a:avLst/>
          </a:prstGeom>
        </p:spPr>
      </p:pic>
      <p:pic>
        <p:nvPicPr>
          <p:cNvPr id="20" name="Grafik 19"/>
          <p:cNvPicPr>
            <a:picLocks noChangeAspect="1"/>
          </p:cNvPicPr>
          <p:nvPr/>
        </p:nvPicPr>
        <p:blipFill>
          <a:blip r:embed="rId11">
            <a:duotone>
              <a:schemeClr val="bg2">
                <a:shade val="45000"/>
                <a:satMod val="135000"/>
              </a:schemeClr>
              <a:prstClr val="white"/>
            </a:duotone>
          </a:blip>
          <a:stretch>
            <a:fillRect/>
          </a:stretch>
        </p:blipFill>
        <p:spPr>
          <a:xfrm>
            <a:off x="7415936" y="5701816"/>
            <a:ext cx="340197" cy="405178"/>
          </a:xfrm>
          <a:prstGeom prst="rect">
            <a:avLst/>
          </a:prstGeom>
        </p:spPr>
      </p:pic>
      <p:pic>
        <p:nvPicPr>
          <p:cNvPr id="21" name="Grafik 20"/>
          <p:cNvPicPr>
            <a:picLocks noChangeAspect="1"/>
          </p:cNvPicPr>
          <p:nvPr/>
        </p:nvPicPr>
        <p:blipFill>
          <a:blip r:embed="rId12"/>
          <a:stretch>
            <a:fillRect/>
          </a:stretch>
        </p:blipFill>
        <p:spPr>
          <a:xfrm>
            <a:off x="7699552" y="5701816"/>
            <a:ext cx="340197" cy="405178"/>
          </a:xfrm>
          <a:prstGeom prst="rect">
            <a:avLst/>
          </a:prstGeom>
        </p:spPr>
      </p:pic>
      <p:pic>
        <p:nvPicPr>
          <p:cNvPr id="22" name="Grafik 21"/>
          <p:cNvPicPr>
            <a:picLocks noChangeAspect="1"/>
          </p:cNvPicPr>
          <p:nvPr/>
        </p:nvPicPr>
        <p:blipFill>
          <a:blip r:embed="rId13"/>
          <a:stretch>
            <a:fillRect/>
          </a:stretch>
        </p:blipFill>
        <p:spPr>
          <a:xfrm>
            <a:off x="7983168" y="5701816"/>
            <a:ext cx="340197" cy="405178"/>
          </a:xfrm>
          <a:prstGeom prst="rect">
            <a:avLst/>
          </a:prstGeom>
        </p:spPr>
      </p:pic>
      <p:pic>
        <p:nvPicPr>
          <p:cNvPr id="23" name="Grafik 22"/>
          <p:cNvPicPr>
            <a:picLocks noChangeAspect="1"/>
          </p:cNvPicPr>
          <p:nvPr/>
        </p:nvPicPr>
        <p:blipFill>
          <a:blip r:embed="rId14">
            <a:duotone>
              <a:schemeClr val="bg2">
                <a:shade val="45000"/>
                <a:satMod val="135000"/>
              </a:schemeClr>
              <a:prstClr val="white"/>
            </a:duotone>
          </a:blip>
          <a:stretch>
            <a:fillRect/>
          </a:stretch>
        </p:blipFill>
        <p:spPr>
          <a:xfrm>
            <a:off x="8266784" y="5701816"/>
            <a:ext cx="340197" cy="405178"/>
          </a:xfrm>
          <a:prstGeom prst="rect">
            <a:avLst/>
          </a:prstGeom>
        </p:spPr>
      </p:pic>
      <p:pic>
        <p:nvPicPr>
          <p:cNvPr id="24" name="Grafik 23"/>
          <p:cNvPicPr>
            <a:picLocks noChangeAspect="1"/>
          </p:cNvPicPr>
          <p:nvPr/>
        </p:nvPicPr>
        <p:blipFill>
          <a:blip r:embed="rId15">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YTD June 2013</a:t>
            </a:r>
          </a:p>
        </p:txBody>
      </p:sp>
      <p:pic>
        <p:nvPicPr>
          <p:cNvPr id="30" name="Grafik 29"/>
          <p:cNvPicPr>
            <a:picLocks/>
          </p:cNvPicPr>
          <p:nvPr/>
        </p:nvPicPr>
        <p:blipFill>
          <a:blip r:embed="rId16">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7"/>
          <a:stretch>
            <a:fillRect/>
          </a:stretch>
        </p:blipFill>
        <p:spPr>
          <a:xfrm>
            <a:off x="8834016" y="5701816"/>
            <a:ext cx="340197" cy="405178"/>
          </a:xfrm>
          <a:prstGeom prst="rect">
            <a:avLst/>
          </a:prstGeom>
        </p:spPr>
      </p:pic>
      <p:sp>
        <p:nvSpPr>
          <p:cNvPr id="25" name="Rectangle 4"/>
          <p:cNvSpPr>
            <a:spLocks noChangeArrowheads="1"/>
          </p:cNvSpPr>
          <p:nvPr>
            <p:custDataLst>
              <p:tags r:id="rId3"/>
            </p:custDataLst>
          </p:nvPr>
        </p:nvSpPr>
        <p:spPr bwMode="gray">
          <a:xfrm>
            <a:off x="7763608" y="5454591"/>
            <a:ext cx="1653442" cy="223679"/>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f applicable presentation at the segment level, or such</a:t>
            </a:r>
          </a:p>
        </p:txBody>
      </p:sp>
      <p:pic>
        <p:nvPicPr>
          <p:cNvPr id="2" name="Grafik 1"/>
          <p:cNvPicPr>
            <a:picLocks noChangeAspect="1"/>
          </p:cNvPicPr>
          <p:nvPr>
            <p:custDataLst>
              <p:tags r:id="rId4"/>
            </p:custDataLst>
          </p:nvPr>
        </p:nvPicPr>
        <p:blipFill rotWithShape="1">
          <a:blip r:embed="rId18"/>
          <a:srcRect l="2197" t="8756" r="21290" b="16718"/>
          <a:stretch/>
        </p:blipFill>
        <p:spPr>
          <a:xfrm>
            <a:off x="2446338" y="1572389"/>
            <a:ext cx="3398836" cy="2032955"/>
          </a:xfrm>
          <a:prstGeom prst="rect">
            <a:avLst/>
          </a:prstGeom>
        </p:spPr>
      </p:pic>
      <p:pic>
        <p:nvPicPr>
          <p:cNvPr id="11" name="Grafik 10"/>
          <p:cNvPicPr>
            <a:picLocks noChangeAspect="1"/>
          </p:cNvPicPr>
          <p:nvPr>
            <p:custDataLst>
              <p:tags r:id="rId5"/>
            </p:custDataLst>
          </p:nvPr>
        </p:nvPicPr>
        <p:blipFill>
          <a:blip r:embed="rId19"/>
          <a:stretch>
            <a:fillRect/>
          </a:stretch>
        </p:blipFill>
        <p:spPr>
          <a:xfrm>
            <a:off x="2457573" y="3823957"/>
            <a:ext cx="3387600" cy="1334976"/>
          </a:xfrm>
          <a:prstGeom prst="rect">
            <a:avLst/>
          </a:prstGeom>
        </p:spPr>
      </p:pic>
      <p:pic>
        <p:nvPicPr>
          <p:cNvPr id="8" name="Grafik 7"/>
          <p:cNvPicPr>
            <a:picLocks noChangeAspect="1"/>
          </p:cNvPicPr>
          <p:nvPr>
            <p:custDataLst>
              <p:tags r:id="rId6"/>
            </p:custDataLst>
          </p:nvPr>
        </p:nvPicPr>
        <p:blipFill>
          <a:blip r:embed="rId20"/>
          <a:stretch>
            <a:fillRect/>
          </a:stretch>
        </p:blipFill>
        <p:spPr>
          <a:xfrm>
            <a:off x="-2793400" y="1464589"/>
            <a:ext cx="1981372" cy="2219136"/>
          </a:xfrm>
          <a:prstGeom prst="rect">
            <a:avLst/>
          </a:prstGeom>
        </p:spPr>
      </p:pic>
      <p:pic>
        <p:nvPicPr>
          <p:cNvPr id="12" name="Grafik 11"/>
          <p:cNvPicPr>
            <a:picLocks noChangeAspect="1"/>
          </p:cNvPicPr>
          <p:nvPr>
            <p:custDataLst>
              <p:tags r:id="rId7"/>
            </p:custDataLst>
          </p:nvPr>
        </p:nvPicPr>
        <p:blipFill>
          <a:blip r:embed="rId21"/>
          <a:stretch>
            <a:fillRect/>
          </a:stretch>
        </p:blipFill>
        <p:spPr>
          <a:xfrm>
            <a:off x="-2793400" y="3847905"/>
            <a:ext cx="1975275" cy="2225233"/>
          </a:xfrm>
          <a:prstGeom prst="rect">
            <a:avLst/>
          </a:prstGeom>
        </p:spPr>
      </p:pic>
    </p:spTree>
    <p:extLst>
      <p:ext uri="{BB962C8B-B14F-4D97-AF65-F5344CB8AC3E}">
        <p14:creationId xmlns:p14="http://schemas.microsoft.com/office/powerpoint/2010/main" val="247379874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In view of the current business development, the 2013 budget appears very ambitious.</a:t>
            </a:r>
          </a:p>
          <a:p>
            <a:r>
              <a:rPr lang="en-US" noProof="0" dirty="0"/>
              <a:t>The current forecast reflects a deviation below plan for 2013.</a:t>
            </a:r>
          </a:p>
          <a:p>
            <a:r>
              <a:rPr lang="en-US" noProof="0" dirty="0"/>
              <a:t>No subsequent impacts for the further planning years are expected.</a:t>
            </a:r>
          </a:p>
        </p:txBody>
      </p:sp>
      <p:sp>
        <p:nvSpPr>
          <p:cNvPr id="5" name="Textplatzhalter 4"/>
          <p:cNvSpPr>
            <a:spLocks noGrp="1"/>
          </p:cNvSpPr>
          <p:nvPr>
            <p:ph type="body" sz="quarter" idx="12"/>
          </p:nvPr>
        </p:nvSpPr>
        <p:spPr>
          <a:xfrm>
            <a:off x="6022732" y="1422400"/>
            <a:ext cx="3407958" cy="4604400"/>
          </a:xfrm>
        </p:spPr>
        <p:txBody>
          <a:bodyPr/>
          <a:lstStyle/>
          <a:p>
            <a:r>
              <a:rPr lang="en-US" noProof="0" dirty="0" smtClean="0"/>
              <a:t>Current business development</a:t>
            </a:r>
          </a:p>
          <a:p>
            <a:pPr lvl="2"/>
            <a:r>
              <a:rPr lang="en-US" noProof="0" dirty="0" smtClean="0"/>
              <a:t>The current business development in the first half of 2013 is below the expectations of XXX AG. This is primarily attributable to XXX.</a:t>
            </a:r>
          </a:p>
          <a:p>
            <a:pPr lvl="2"/>
            <a:r>
              <a:rPr lang="en-US" noProof="0" dirty="0" smtClean="0"/>
              <a:t>The current business development, which is below expectations, reflects the adjusted forecast, which is below budget. The expected sales are now €</a:t>
            </a:r>
            <a:r>
              <a:rPr lang="en-US" noProof="0" dirty="0" err="1" smtClean="0"/>
              <a:t>x.x</a:t>
            </a:r>
            <a:r>
              <a:rPr lang="en-US" noProof="0" dirty="0" smtClean="0"/>
              <a:t> million or ca. X% and the EBITDA ca. €</a:t>
            </a:r>
            <a:r>
              <a:rPr lang="en-US" noProof="0" dirty="0" err="1" smtClean="0"/>
              <a:t>x.x</a:t>
            </a:r>
            <a:r>
              <a:rPr lang="en-US" noProof="0" dirty="0" smtClean="0"/>
              <a:t> million or ca. X% below budget.</a:t>
            </a:r>
          </a:p>
          <a:p>
            <a:pPr lvl="2"/>
            <a:r>
              <a:rPr lang="en-US" noProof="0" dirty="0" smtClean="0"/>
              <a:t>Along with the business development, personnel costs above expectations in the forecast of the EBITDA are to be noted. These are due to an early conclusion of a collective bargaining agreement and encumbrances from litigation XXX.</a:t>
            </a:r>
          </a:p>
          <a:p>
            <a:pPr lvl="2"/>
            <a:r>
              <a:rPr lang="en-US" noProof="0" dirty="0" smtClean="0"/>
              <a:t>The XXX AG management does not foresee any subsequent impact for the planning years 2014 and 2015 in the failure to make the budget in planning year 2013. We agree with this estimation on the basis of the information provided to us and the analyses we conducted. </a:t>
            </a:r>
            <a:endParaRPr lang="en-US" noProof="0" dirty="0"/>
          </a:p>
        </p:txBody>
      </p:sp>
      <p:sp>
        <p:nvSpPr>
          <p:cNvPr id="4" name="Titel 3"/>
          <p:cNvSpPr>
            <a:spLocks noGrp="1"/>
          </p:cNvSpPr>
          <p:nvPr>
            <p:ph type="title"/>
          </p:nvPr>
        </p:nvSpPr>
        <p:spPr/>
        <p:txBody>
          <a:bodyPr/>
          <a:lstStyle/>
          <a:p>
            <a:r>
              <a:rPr lang="en-US" noProof="0" dirty="0"/>
              <a:t>7. Does the current trading/LTM or the current forecast support the sales and gross profit planning? </a:t>
            </a:r>
            <a:r>
              <a:rPr lang="en-US" noProof="0" dirty="0" smtClean="0"/>
              <a:t>(2/2</a:t>
            </a:r>
            <a:r>
              <a:rPr lang="en-US" noProof="0" dirty="0"/>
              <a:t>)</a:t>
            </a:r>
          </a:p>
        </p:txBody>
      </p:sp>
      <p:sp>
        <p:nvSpPr>
          <p:cNvPr id="3" name="Textplatzhalter 2"/>
          <p:cNvSpPr>
            <a:spLocks noGrp="1"/>
          </p:cNvSpPr>
          <p:nvPr>
            <p:ph type="body" sz="quarter" idx="13"/>
          </p:nvPr>
        </p:nvSpPr>
        <p:spPr/>
        <p:txBody>
          <a:bodyPr/>
          <a:lstStyle/>
          <a:p>
            <a:r>
              <a:rPr lang="en-US" noProof="0" dirty="0"/>
              <a:t>Sales and Gross Profit (Planning) </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9">
            <a:duotone>
              <a:schemeClr val="bg2">
                <a:shade val="45000"/>
                <a:satMod val="135000"/>
              </a:schemeClr>
              <a:prstClr val="white"/>
            </a:duotone>
          </a:blip>
          <a:stretch>
            <a:fillRect/>
          </a:stretch>
        </p:blipFill>
        <p:spPr>
          <a:xfrm>
            <a:off x="7132320" y="5701816"/>
            <a:ext cx="340197" cy="405178"/>
          </a:xfrm>
          <a:prstGeom prst="rect">
            <a:avLst/>
          </a:prstGeom>
        </p:spPr>
      </p:pic>
      <p:pic>
        <p:nvPicPr>
          <p:cNvPr id="20" name="Grafik 19"/>
          <p:cNvPicPr>
            <a:picLocks noChangeAspect="1"/>
          </p:cNvPicPr>
          <p:nvPr/>
        </p:nvPicPr>
        <p:blipFill>
          <a:blip r:embed="rId10">
            <a:duotone>
              <a:schemeClr val="bg2">
                <a:shade val="45000"/>
                <a:satMod val="135000"/>
              </a:schemeClr>
              <a:prstClr val="white"/>
            </a:duotone>
          </a:blip>
          <a:stretch>
            <a:fillRect/>
          </a:stretch>
        </p:blipFill>
        <p:spPr>
          <a:xfrm>
            <a:off x="7415936" y="5701816"/>
            <a:ext cx="340197" cy="405178"/>
          </a:xfrm>
          <a:prstGeom prst="rect">
            <a:avLst/>
          </a:prstGeom>
        </p:spPr>
      </p:pic>
      <p:pic>
        <p:nvPicPr>
          <p:cNvPr id="21" name="Grafik 20"/>
          <p:cNvPicPr>
            <a:picLocks noChangeAspect="1"/>
          </p:cNvPicPr>
          <p:nvPr/>
        </p:nvPicPr>
        <p:blipFill>
          <a:blip r:embed="rId11"/>
          <a:stretch>
            <a:fillRect/>
          </a:stretch>
        </p:blipFill>
        <p:spPr>
          <a:xfrm>
            <a:off x="7699552" y="5701816"/>
            <a:ext cx="340197" cy="405178"/>
          </a:xfrm>
          <a:prstGeom prst="rect">
            <a:avLst/>
          </a:prstGeom>
        </p:spPr>
      </p:pic>
      <p:pic>
        <p:nvPicPr>
          <p:cNvPr id="22" name="Grafik 21"/>
          <p:cNvPicPr>
            <a:picLocks noChangeAspect="1"/>
          </p:cNvPicPr>
          <p:nvPr/>
        </p:nvPicPr>
        <p:blipFill>
          <a:blip r:embed="rId12"/>
          <a:stretch>
            <a:fillRect/>
          </a:stretch>
        </p:blipFill>
        <p:spPr>
          <a:xfrm>
            <a:off x="7983168" y="5701816"/>
            <a:ext cx="340197" cy="405178"/>
          </a:xfrm>
          <a:prstGeom prst="rect">
            <a:avLst/>
          </a:prstGeom>
        </p:spPr>
      </p:pic>
      <p:pic>
        <p:nvPicPr>
          <p:cNvPr id="23" name="Grafik 22"/>
          <p:cNvPicPr>
            <a:picLocks noChangeAspect="1"/>
          </p:cNvPicPr>
          <p:nvPr/>
        </p:nvPicPr>
        <p:blipFill>
          <a:blip r:embed="rId13">
            <a:duotone>
              <a:schemeClr val="bg2">
                <a:shade val="45000"/>
                <a:satMod val="135000"/>
              </a:schemeClr>
              <a:prstClr val="white"/>
            </a:duotone>
          </a:blip>
          <a:stretch>
            <a:fillRect/>
          </a:stretch>
        </p:blipFill>
        <p:spPr>
          <a:xfrm>
            <a:off x="8266784" y="5701816"/>
            <a:ext cx="340197" cy="405178"/>
          </a:xfrm>
          <a:prstGeom prst="rect">
            <a:avLst/>
          </a:prstGeom>
        </p:spPr>
      </p:pic>
      <p:pic>
        <p:nvPicPr>
          <p:cNvPr id="24" name="Grafik 23"/>
          <p:cNvPicPr>
            <a:picLocks noChangeAspect="1"/>
          </p:cNvPicPr>
          <p:nvPr/>
        </p:nvPicPr>
        <p:blipFill>
          <a:blip r:embed="rId14">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omparison forecast vs. budget</a:t>
            </a:r>
          </a:p>
        </p:txBody>
      </p:sp>
      <p:pic>
        <p:nvPicPr>
          <p:cNvPr id="30" name="Grafik 29"/>
          <p:cNvPicPr>
            <a:picLocks/>
          </p:cNvPicPr>
          <p:nvPr/>
        </p:nvPicPr>
        <p:blipFill>
          <a:blip r:embed="rId15">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6">
            <a:duotone>
              <a:schemeClr val="bg2">
                <a:shade val="45000"/>
                <a:satMod val="135000"/>
              </a:schemeClr>
              <a:prstClr val="white"/>
            </a:duotone>
          </a:blip>
          <a:stretch>
            <a:fillRect/>
          </a:stretch>
        </p:blipFill>
        <p:spPr>
          <a:xfrm>
            <a:off x="8834016" y="5701816"/>
            <a:ext cx="340197" cy="405178"/>
          </a:xfrm>
          <a:prstGeom prst="rect">
            <a:avLst/>
          </a:prstGeom>
        </p:spPr>
      </p:pic>
      <p:pic>
        <p:nvPicPr>
          <p:cNvPr id="7" name="Grafik 6"/>
          <p:cNvPicPr>
            <a:picLocks noChangeAspect="1"/>
          </p:cNvPicPr>
          <p:nvPr>
            <p:custDataLst>
              <p:tags r:id="rId3"/>
            </p:custDataLst>
          </p:nvPr>
        </p:nvPicPr>
        <p:blipFill rotWithShape="1">
          <a:blip r:embed="rId17"/>
          <a:srcRect l="6796" r="22413" b="16791"/>
          <a:stretch/>
        </p:blipFill>
        <p:spPr>
          <a:xfrm>
            <a:off x="2438400" y="1566385"/>
            <a:ext cx="3406773" cy="1969292"/>
          </a:xfrm>
          <a:prstGeom prst="rect">
            <a:avLst/>
          </a:prstGeom>
        </p:spPr>
      </p:pic>
      <p:pic>
        <p:nvPicPr>
          <p:cNvPr id="12" name="Grafik 11"/>
          <p:cNvPicPr>
            <a:picLocks noChangeAspect="1"/>
          </p:cNvPicPr>
          <p:nvPr>
            <p:custDataLst>
              <p:tags r:id="rId4"/>
            </p:custDataLst>
          </p:nvPr>
        </p:nvPicPr>
        <p:blipFill>
          <a:blip r:embed="rId18"/>
          <a:stretch>
            <a:fillRect/>
          </a:stretch>
        </p:blipFill>
        <p:spPr>
          <a:xfrm>
            <a:off x="2457573" y="3457428"/>
            <a:ext cx="3387600" cy="2569372"/>
          </a:xfrm>
          <a:prstGeom prst="rect">
            <a:avLst/>
          </a:prstGeom>
        </p:spPr>
      </p:pic>
      <p:pic>
        <p:nvPicPr>
          <p:cNvPr id="8" name="Grafik 7"/>
          <p:cNvPicPr>
            <a:picLocks noChangeAspect="1"/>
          </p:cNvPicPr>
          <p:nvPr>
            <p:custDataLst>
              <p:tags r:id="rId5"/>
            </p:custDataLst>
          </p:nvPr>
        </p:nvPicPr>
        <p:blipFill>
          <a:blip r:embed="rId19"/>
          <a:stretch>
            <a:fillRect/>
          </a:stretch>
        </p:blipFill>
        <p:spPr>
          <a:xfrm>
            <a:off x="-2748743" y="1422400"/>
            <a:ext cx="1981372" cy="2225233"/>
          </a:xfrm>
          <a:prstGeom prst="rect">
            <a:avLst/>
          </a:prstGeom>
        </p:spPr>
      </p:pic>
      <p:pic>
        <p:nvPicPr>
          <p:cNvPr id="11" name="Grafik 10"/>
          <p:cNvPicPr>
            <a:picLocks noChangeAspect="1"/>
          </p:cNvPicPr>
          <p:nvPr>
            <p:custDataLst>
              <p:tags r:id="rId6"/>
            </p:custDataLst>
          </p:nvPr>
        </p:nvPicPr>
        <p:blipFill>
          <a:blip r:embed="rId20"/>
          <a:stretch>
            <a:fillRect/>
          </a:stretch>
        </p:blipFill>
        <p:spPr>
          <a:xfrm>
            <a:off x="-2748743" y="3807664"/>
            <a:ext cx="1975275" cy="2219136"/>
          </a:xfrm>
          <a:prstGeom prst="rect">
            <a:avLst/>
          </a:prstGeom>
        </p:spPr>
      </p:pic>
    </p:spTree>
    <p:extLst>
      <p:ext uri="{BB962C8B-B14F-4D97-AF65-F5344CB8AC3E}">
        <p14:creationId xmlns:p14="http://schemas.microsoft.com/office/powerpoint/2010/main" val="71367646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smtClean="0"/>
              <a:t>There is a material currency risk for the XXX AG with respect to the US dollar.</a:t>
            </a:r>
          </a:p>
          <a:p>
            <a:r>
              <a:rPr lang="en-US" noProof="0" dirty="0" smtClean="0"/>
              <a:t>The exchange rate assumed in the planning appears appropriate in view of the current market data.</a:t>
            </a:r>
            <a:endParaRPr lang="en-US" noProof="0" dirty="0"/>
          </a:p>
        </p:txBody>
      </p:sp>
      <p:sp>
        <p:nvSpPr>
          <p:cNvPr id="5" name="Textplatzhalter 4"/>
          <p:cNvSpPr>
            <a:spLocks noGrp="1"/>
          </p:cNvSpPr>
          <p:nvPr>
            <p:ph type="body" sz="quarter" idx="12"/>
          </p:nvPr>
        </p:nvSpPr>
        <p:spPr>
          <a:xfrm>
            <a:off x="6022732" y="1422400"/>
            <a:ext cx="3407958" cy="4604400"/>
          </a:xfrm>
        </p:spPr>
        <p:txBody>
          <a:bodyPr/>
          <a:lstStyle/>
          <a:p>
            <a:r>
              <a:rPr lang="en-US" noProof="0" dirty="0" smtClean="0"/>
              <a:t>Currency risks</a:t>
            </a:r>
          </a:p>
          <a:p>
            <a:pPr lvl="2"/>
            <a:r>
              <a:rPr lang="en-US" noProof="0" dirty="0" smtClean="0"/>
              <a:t>The XXX AG conducts about two-thirds of its business in euros and about one-third in US dollars.</a:t>
            </a:r>
          </a:p>
          <a:p>
            <a:pPr lvl="2"/>
            <a:r>
              <a:rPr lang="en-US" noProof="0" dirty="0" smtClean="0"/>
              <a:t>The expenses of the XXX AG are in a comparable ratio.</a:t>
            </a:r>
          </a:p>
          <a:p>
            <a:pPr lvl="2"/>
            <a:r>
              <a:rPr lang="en-US" noProof="0" dirty="0" smtClean="0"/>
              <a:t>While there is a major currency risk at the level of sales, due to the material share of the business conducted in dollars, the currency risk is lower at the profit level due to the compensating effects of the expenses.</a:t>
            </a:r>
          </a:p>
          <a:p>
            <a:pPr lvl="2"/>
            <a:r>
              <a:rPr lang="en-US" noProof="0" dirty="0" smtClean="0"/>
              <a:t>The planning of the XXX AG is based on a plan exchange rate of XXX USD/EUR in the entire planning period. This appears appropriate in view of the current market expectations for the USD/EUR exchange rates.</a:t>
            </a:r>
            <a:endParaRPr lang="en-US" noProof="0" dirty="0"/>
          </a:p>
        </p:txBody>
      </p:sp>
      <p:sp>
        <p:nvSpPr>
          <p:cNvPr id="4" name="Titel 3"/>
          <p:cNvSpPr>
            <a:spLocks noGrp="1"/>
          </p:cNvSpPr>
          <p:nvPr>
            <p:ph type="title"/>
          </p:nvPr>
        </p:nvSpPr>
        <p:spPr/>
        <p:txBody>
          <a:bodyPr/>
          <a:lstStyle/>
          <a:p>
            <a:r>
              <a:rPr lang="en-US" noProof="0" dirty="0"/>
              <a:t>8. Do material currency risks exist for the sales and gross profit planning?</a:t>
            </a:r>
          </a:p>
        </p:txBody>
      </p:sp>
      <p:sp>
        <p:nvSpPr>
          <p:cNvPr id="3" name="Textplatzhalter 2"/>
          <p:cNvSpPr>
            <a:spLocks noGrp="1"/>
          </p:cNvSpPr>
          <p:nvPr>
            <p:ph type="body" sz="quarter" idx="13"/>
          </p:nvPr>
        </p:nvSpPr>
        <p:spPr/>
        <p:txBody>
          <a:bodyPr/>
          <a:lstStyle/>
          <a:p>
            <a:r>
              <a:rPr lang="en-US" noProof="0" dirty="0"/>
              <a:t>Sales and Gross Profit (Planning) </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3"/>
          <a:stretch>
            <a:fillRect/>
          </a:stretch>
        </p:blipFill>
        <p:spPr>
          <a:xfrm>
            <a:off x="7132320" y="5701816"/>
            <a:ext cx="340197" cy="405178"/>
          </a:xfrm>
          <a:prstGeom prst="rect">
            <a:avLst/>
          </a:prstGeom>
        </p:spPr>
      </p:pic>
      <p:pic>
        <p:nvPicPr>
          <p:cNvPr id="20" name="Grafik 19"/>
          <p:cNvPicPr>
            <a:picLocks noChangeAspect="1"/>
          </p:cNvPicPr>
          <p:nvPr/>
        </p:nvPicPr>
        <p:blipFill>
          <a:blip r:embed="rId14"/>
          <a:stretch>
            <a:fillRect/>
          </a:stretch>
        </p:blipFill>
        <p:spPr>
          <a:xfrm>
            <a:off x="7415936" y="5701816"/>
            <a:ext cx="340197" cy="405178"/>
          </a:xfrm>
          <a:prstGeom prst="rect">
            <a:avLst/>
          </a:prstGeom>
        </p:spPr>
      </p:pic>
      <p:pic>
        <p:nvPicPr>
          <p:cNvPr id="21" name="Grafik 20"/>
          <p:cNvPicPr>
            <a:picLocks noChangeAspect="1"/>
          </p:cNvPicPr>
          <p:nvPr/>
        </p:nvPicPr>
        <p:blipFill>
          <a:blip r:embed="rId15"/>
          <a:stretch>
            <a:fillRect/>
          </a:stretch>
        </p:blipFill>
        <p:spPr>
          <a:xfrm>
            <a:off x="7699552" y="5701816"/>
            <a:ext cx="340197" cy="405178"/>
          </a:xfrm>
          <a:prstGeom prst="rect">
            <a:avLst/>
          </a:prstGeom>
        </p:spPr>
      </p:pic>
      <p:pic>
        <p:nvPicPr>
          <p:cNvPr id="22" name="Grafik 21"/>
          <p:cNvPicPr>
            <a:picLocks noChangeAspect="1"/>
          </p:cNvPicPr>
          <p:nvPr/>
        </p:nvPicPr>
        <p:blipFill>
          <a:blip r:embed="rId16">
            <a:duotone>
              <a:schemeClr val="bg2">
                <a:shade val="45000"/>
                <a:satMod val="135000"/>
              </a:schemeClr>
              <a:prstClr val="white"/>
            </a:duotone>
          </a:blip>
          <a:stretch>
            <a:fillRect/>
          </a:stretch>
        </p:blipFill>
        <p:spPr>
          <a:xfrm>
            <a:off x="7983168" y="5701816"/>
            <a:ext cx="340197" cy="405178"/>
          </a:xfrm>
          <a:prstGeom prst="rect">
            <a:avLst/>
          </a:prstGeom>
        </p:spPr>
      </p:pic>
      <p:pic>
        <p:nvPicPr>
          <p:cNvPr id="23" name="Grafik 22"/>
          <p:cNvPicPr>
            <a:picLocks noChangeAspect="1"/>
          </p:cNvPicPr>
          <p:nvPr/>
        </p:nvPicPr>
        <p:blipFill>
          <a:blip r:embed="rId17">
            <a:duotone>
              <a:schemeClr val="bg2">
                <a:shade val="45000"/>
                <a:satMod val="135000"/>
              </a:schemeClr>
              <a:prstClr val="white"/>
            </a:duotone>
          </a:blip>
          <a:stretch>
            <a:fillRect/>
          </a:stretch>
        </p:blipFill>
        <p:spPr>
          <a:xfrm>
            <a:off x="8266784" y="5701816"/>
            <a:ext cx="340197" cy="405178"/>
          </a:xfrm>
          <a:prstGeom prst="rect">
            <a:avLst/>
          </a:prstGeom>
        </p:spPr>
      </p:pic>
      <p:pic>
        <p:nvPicPr>
          <p:cNvPr id="24" name="Grafik 23"/>
          <p:cNvPicPr>
            <a:picLocks noChangeAspect="1"/>
          </p:cNvPicPr>
          <p:nvPr/>
        </p:nvPicPr>
        <p:blipFill>
          <a:blip r:embed="rId18">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2"/>
            </p:custDataLst>
          </p:nvPr>
        </p:nvSpPr>
        <p:spPr>
          <a:xfrm>
            <a:off x="2447923" y="1422400"/>
            <a:ext cx="1596540"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Sales earnings 2012</a:t>
            </a:r>
            <a:endParaRPr lang="en-US" sz="900" kern="0" dirty="0">
              <a:latin typeface="Arial" panose="020B0604020202020204" pitchFamily="34" charset="0"/>
              <a:cs typeface="Arial" panose="020B0604020202020204" pitchFamily="34" charset="0"/>
            </a:endParaRPr>
          </a:p>
        </p:txBody>
      </p:sp>
      <p:pic>
        <p:nvPicPr>
          <p:cNvPr id="30" name="Grafik 29"/>
          <p:cNvPicPr>
            <a:picLocks/>
          </p:cNvPicPr>
          <p:nvPr/>
        </p:nvPicPr>
        <p:blipFill>
          <a:blip r:embed="rId19">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20">
            <a:duotone>
              <a:schemeClr val="bg2">
                <a:shade val="45000"/>
                <a:satMod val="135000"/>
              </a:schemeClr>
              <a:prstClr val="white"/>
            </a:duotone>
          </a:blip>
          <a:stretch>
            <a:fillRect/>
          </a:stretch>
        </p:blipFill>
        <p:spPr>
          <a:xfrm>
            <a:off x="8834016" y="5701816"/>
            <a:ext cx="340197" cy="405178"/>
          </a:xfrm>
          <a:prstGeom prst="rect">
            <a:avLst/>
          </a:prstGeom>
        </p:spPr>
      </p:pic>
      <p:sp>
        <p:nvSpPr>
          <p:cNvPr id="25" name="Text Placeholder 12"/>
          <p:cNvSpPr txBox="1">
            <a:spLocks/>
          </p:cNvSpPr>
          <p:nvPr>
            <p:custDataLst>
              <p:tags r:id="rId3"/>
            </p:custDataLst>
          </p:nvPr>
        </p:nvSpPr>
        <p:spPr>
          <a:xfrm>
            <a:off x="2447922" y="38227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lan vs. forward exchange rate USD/EUR</a:t>
            </a:r>
          </a:p>
        </p:txBody>
      </p:sp>
      <p:sp>
        <p:nvSpPr>
          <p:cNvPr id="27" name="Text Placeholder 12"/>
          <p:cNvSpPr txBox="1">
            <a:spLocks/>
          </p:cNvSpPr>
          <p:nvPr>
            <p:custDataLst>
              <p:tags r:id="rId4"/>
            </p:custDataLst>
          </p:nvPr>
        </p:nvSpPr>
        <p:spPr>
          <a:xfrm>
            <a:off x="4244119" y="1422400"/>
            <a:ext cx="1596540"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Expenses 2012</a:t>
            </a:r>
            <a:endParaRPr lang="en-US" sz="900" kern="0" dirty="0">
              <a:latin typeface="Arial" panose="020B0604020202020204" pitchFamily="34" charset="0"/>
              <a:cs typeface="Arial" panose="020B0604020202020204" pitchFamily="34" charset="0"/>
            </a:endParaRPr>
          </a:p>
        </p:txBody>
      </p:sp>
      <p:pic>
        <p:nvPicPr>
          <p:cNvPr id="2" name="Grafik 1"/>
          <p:cNvPicPr>
            <a:picLocks noChangeAspect="1"/>
          </p:cNvPicPr>
          <p:nvPr>
            <p:custDataLst>
              <p:tags r:id="rId5"/>
            </p:custDataLst>
          </p:nvPr>
        </p:nvPicPr>
        <p:blipFill rotWithShape="1">
          <a:blip r:embed="rId21"/>
          <a:srcRect l="28130" t="19434" r="35701" b="5078"/>
          <a:stretch/>
        </p:blipFill>
        <p:spPr>
          <a:xfrm>
            <a:off x="2447109" y="1820091"/>
            <a:ext cx="1611085" cy="1802675"/>
          </a:xfrm>
          <a:prstGeom prst="rect">
            <a:avLst/>
          </a:prstGeom>
        </p:spPr>
      </p:pic>
      <p:pic>
        <p:nvPicPr>
          <p:cNvPr id="11" name="Grafik 10"/>
          <p:cNvPicPr>
            <a:picLocks noChangeAspect="1"/>
          </p:cNvPicPr>
          <p:nvPr>
            <p:custDataLst>
              <p:tags r:id="rId6"/>
            </p:custDataLst>
          </p:nvPr>
        </p:nvPicPr>
        <p:blipFill rotWithShape="1">
          <a:blip r:embed="rId22"/>
          <a:srcRect l="28283" t="19446" r="35521" b="5017"/>
          <a:stretch/>
        </p:blipFill>
        <p:spPr>
          <a:xfrm>
            <a:off x="4241074" y="1820091"/>
            <a:ext cx="1602377" cy="1802675"/>
          </a:xfrm>
          <a:prstGeom prst="rect">
            <a:avLst/>
          </a:prstGeom>
        </p:spPr>
      </p:pic>
      <p:pic>
        <p:nvPicPr>
          <p:cNvPr id="16" name="Grafik 15"/>
          <p:cNvPicPr>
            <a:picLocks noChangeAspect="1"/>
          </p:cNvPicPr>
          <p:nvPr>
            <p:custDataLst>
              <p:tags r:id="rId7"/>
            </p:custDataLst>
          </p:nvPr>
        </p:nvPicPr>
        <p:blipFill>
          <a:blip r:embed="rId23"/>
          <a:stretch>
            <a:fillRect/>
          </a:stretch>
        </p:blipFill>
        <p:spPr>
          <a:xfrm>
            <a:off x="2371729" y="3790673"/>
            <a:ext cx="4483274" cy="2794916"/>
          </a:xfrm>
          <a:prstGeom prst="rect">
            <a:avLst/>
          </a:prstGeom>
        </p:spPr>
      </p:pic>
      <p:pic>
        <p:nvPicPr>
          <p:cNvPr id="8" name="Grafik 7"/>
          <p:cNvPicPr>
            <a:picLocks noChangeAspect="1"/>
          </p:cNvPicPr>
          <p:nvPr>
            <p:custDataLst>
              <p:tags r:id="rId8"/>
            </p:custDataLst>
          </p:nvPr>
        </p:nvPicPr>
        <p:blipFill>
          <a:blip r:embed="rId24"/>
          <a:stretch>
            <a:fillRect/>
          </a:stretch>
        </p:blipFill>
        <p:spPr>
          <a:xfrm>
            <a:off x="-2662771" y="1175175"/>
            <a:ext cx="1987468" cy="2225233"/>
          </a:xfrm>
          <a:prstGeom prst="rect">
            <a:avLst/>
          </a:prstGeom>
        </p:spPr>
      </p:pic>
      <p:pic>
        <p:nvPicPr>
          <p:cNvPr id="12" name="Grafik 11"/>
          <p:cNvPicPr>
            <a:picLocks noChangeAspect="1"/>
          </p:cNvPicPr>
          <p:nvPr>
            <p:custDataLst>
              <p:tags r:id="rId9"/>
            </p:custDataLst>
          </p:nvPr>
        </p:nvPicPr>
        <p:blipFill>
          <a:blip r:embed="rId25"/>
          <a:stretch>
            <a:fillRect/>
          </a:stretch>
        </p:blipFill>
        <p:spPr>
          <a:xfrm>
            <a:off x="-2662771" y="2287791"/>
            <a:ext cx="1987468" cy="2219136"/>
          </a:xfrm>
          <a:prstGeom prst="rect">
            <a:avLst/>
          </a:prstGeom>
        </p:spPr>
      </p:pic>
      <p:pic>
        <p:nvPicPr>
          <p:cNvPr id="15" name="Grafik 14"/>
          <p:cNvPicPr>
            <a:picLocks noChangeAspect="1"/>
          </p:cNvPicPr>
          <p:nvPr>
            <p:custDataLst>
              <p:tags r:id="rId10"/>
            </p:custDataLst>
          </p:nvPr>
        </p:nvPicPr>
        <p:blipFill>
          <a:blip r:embed="rId26"/>
          <a:stretch>
            <a:fillRect/>
          </a:stretch>
        </p:blipFill>
        <p:spPr>
          <a:xfrm>
            <a:off x="-2662771" y="3801567"/>
            <a:ext cx="1987468" cy="2225233"/>
          </a:xfrm>
          <a:prstGeom prst="rect">
            <a:avLst/>
          </a:prstGeom>
        </p:spPr>
      </p:pic>
    </p:spTree>
    <p:extLst>
      <p:ext uri="{BB962C8B-B14F-4D97-AF65-F5344CB8AC3E}">
        <p14:creationId xmlns:p14="http://schemas.microsoft.com/office/powerpoint/2010/main" val="151105148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The impact of contracts with change-of-control clauses on the XXX AG planning appears to be slight.</a:t>
            </a:r>
            <a:endParaRPr lang="en-US" dirty="0"/>
          </a:p>
        </p:txBody>
      </p:sp>
      <p:sp>
        <p:nvSpPr>
          <p:cNvPr id="5" name="Textplatzhalter 4"/>
          <p:cNvSpPr>
            <a:spLocks noGrp="1"/>
          </p:cNvSpPr>
          <p:nvPr>
            <p:ph type="body" sz="quarter" idx="12"/>
          </p:nvPr>
        </p:nvSpPr>
        <p:spPr>
          <a:xfrm>
            <a:off x="6022732" y="1422400"/>
            <a:ext cx="3407958" cy="4604400"/>
          </a:xfrm>
        </p:spPr>
        <p:txBody>
          <a:bodyPr/>
          <a:lstStyle/>
          <a:p>
            <a:r>
              <a:rPr lang="en-US" dirty="0" smtClean="0"/>
              <a:t>Change-of-control clauses</a:t>
            </a:r>
          </a:p>
          <a:p>
            <a:pPr lvl="2"/>
            <a:r>
              <a:rPr lang="en-US" dirty="0" smtClean="0"/>
              <a:t>The XXX AG basically has five customer contracts that contain a change-of-control contract.</a:t>
            </a:r>
          </a:p>
          <a:p>
            <a:pPr lvl="2"/>
            <a:r>
              <a:rPr lang="en-US" dirty="0" smtClean="0"/>
              <a:t>The share of sales in these contracts is ca. 20% in 2012 and decreases to 10% in the course of planning.</a:t>
            </a:r>
          </a:p>
          <a:p>
            <a:pPr lvl="2"/>
            <a:r>
              <a:rPr lang="en-US" dirty="0" smtClean="0"/>
              <a:t>To date no talks have been held regarding the execution or discontinuation of the change-of-control clauses. The management estimates the probability of an exercising of the clause as being slight.</a:t>
            </a:r>
          </a:p>
          <a:p>
            <a:pPr lvl="2"/>
            <a:r>
              <a:rPr lang="en-US" dirty="0" smtClean="0"/>
              <a:t>Supplier contract with a change-of-control clause do not exist.</a:t>
            </a:r>
            <a:endParaRPr lang="en-US" dirty="0"/>
          </a:p>
        </p:txBody>
      </p:sp>
      <p:sp>
        <p:nvSpPr>
          <p:cNvPr id="4" name="Titel 3"/>
          <p:cNvSpPr>
            <a:spLocks noGrp="1"/>
          </p:cNvSpPr>
          <p:nvPr>
            <p:ph type="title"/>
          </p:nvPr>
        </p:nvSpPr>
        <p:spPr/>
        <p:txBody>
          <a:bodyPr/>
          <a:lstStyle/>
          <a:p>
            <a:r>
              <a:rPr lang="en-US" dirty="0"/>
              <a:t>9. In case of a transaction: What impacts do change-of-control (</a:t>
            </a:r>
            <a:r>
              <a:rPr lang="en-US" dirty="0" err="1"/>
              <a:t>CoC</a:t>
            </a:r>
            <a:r>
              <a:rPr lang="en-US" dirty="0"/>
              <a:t>) clauses have on material (long-term) customer or supplier contracts?</a:t>
            </a:r>
          </a:p>
        </p:txBody>
      </p:sp>
      <p:sp>
        <p:nvSpPr>
          <p:cNvPr id="3" name="Textplatzhalter 2"/>
          <p:cNvSpPr>
            <a:spLocks noGrp="1"/>
          </p:cNvSpPr>
          <p:nvPr>
            <p:ph type="body" sz="quarter" idx="13"/>
          </p:nvPr>
        </p:nvSpPr>
        <p:spPr/>
        <p:txBody>
          <a:bodyPr/>
          <a:lstStyle/>
          <a:p>
            <a:r>
              <a:rPr lang="en-US" dirty="0"/>
              <a:t>Sales and Gross Profit (Planning) </a:t>
            </a:r>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3668559640"/>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1">
            <a:duotone>
              <a:schemeClr val="bg2">
                <a:shade val="45000"/>
                <a:satMod val="135000"/>
              </a:schemeClr>
              <a:prstClr val="white"/>
            </a:duotone>
          </a:blip>
          <a:stretch>
            <a:fillRect/>
          </a:stretch>
        </p:blipFill>
        <p:spPr>
          <a:xfrm>
            <a:off x="7132320" y="5701816"/>
            <a:ext cx="340197" cy="405178"/>
          </a:xfrm>
          <a:prstGeom prst="rect">
            <a:avLst/>
          </a:prstGeom>
        </p:spPr>
      </p:pic>
      <p:pic>
        <p:nvPicPr>
          <p:cNvPr id="20" name="Grafik 19"/>
          <p:cNvPicPr>
            <a:picLocks noChangeAspect="1"/>
          </p:cNvPicPr>
          <p:nvPr/>
        </p:nvPicPr>
        <p:blipFill>
          <a:blip r:embed="rId12"/>
          <a:stretch>
            <a:fillRect/>
          </a:stretch>
        </p:blipFill>
        <p:spPr>
          <a:xfrm>
            <a:off x="7415936" y="5701816"/>
            <a:ext cx="340197" cy="405178"/>
          </a:xfrm>
          <a:prstGeom prst="rect">
            <a:avLst/>
          </a:prstGeom>
        </p:spPr>
      </p:pic>
      <p:pic>
        <p:nvPicPr>
          <p:cNvPr id="21" name="Grafik 20"/>
          <p:cNvPicPr>
            <a:picLocks noChangeAspect="1"/>
          </p:cNvPicPr>
          <p:nvPr/>
        </p:nvPicPr>
        <p:blipFill>
          <a:blip r:embed="rId13">
            <a:duotone>
              <a:schemeClr val="bg2">
                <a:shade val="45000"/>
                <a:satMod val="135000"/>
              </a:schemeClr>
              <a:prstClr val="white"/>
            </a:duotone>
          </a:blip>
          <a:stretch>
            <a:fillRect/>
          </a:stretch>
        </p:blipFill>
        <p:spPr>
          <a:xfrm>
            <a:off x="7699552" y="5701816"/>
            <a:ext cx="340197" cy="405178"/>
          </a:xfrm>
          <a:prstGeom prst="rect">
            <a:avLst/>
          </a:prstGeom>
        </p:spPr>
      </p:pic>
      <p:pic>
        <p:nvPicPr>
          <p:cNvPr id="22" name="Grafik 21"/>
          <p:cNvPicPr>
            <a:picLocks noChangeAspect="1"/>
          </p:cNvPicPr>
          <p:nvPr/>
        </p:nvPicPr>
        <p:blipFill>
          <a:blip r:embed="rId14"/>
          <a:stretch>
            <a:fillRect/>
          </a:stretch>
        </p:blipFill>
        <p:spPr>
          <a:xfrm>
            <a:off x="7983168" y="5701816"/>
            <a:ext cx="340197" cy="405178"/>
          </a:xfrm>
          <a:prstGeom prst="rect">
            <a:avLst/>
          </a:prstGeom>
        </p:spPr>
      </p:pic>
      <p:pic>
        <p:nvPicPr>
          <p:cNvPr id="23" name="Grafik 22"/>
          <p:cNvPicPr>
            <a:picLocks noChangeAspect="1"/>
          </p:cNvPicPr>
          <p:nvPr/>
        </p:nvPicPr>
        <p:blipFill>
          <a:blip r:embed="rId15">
            <a:duotone>
              <a:schemeClr val="bg2">
                <a:shade val="45000"/>
                <a:satMod val="135000"/>
              </a:schemeClr>
              <a:prstClr val="white"/>
            </a:duotone>
          </a:blip>
          <a:stretch>
            <a:fillRect/>
          </a:stretch>
        </p:blipFill>
        <p:spPr>
          <a:xfrm>
            <a:off x="8266784" y="5701816"/>
            <a:ext cx="340197" cy="405178"/>
          </a:xfrm>
          <a:prstGeom prst="rect">
            <a:avLst/>
          </a:prstGeom>
        </p:spPr>
      </p:pic>
      <p:pic>
        <p:nvPicPr>
          <p:cNvPr id="24" name="Grafik 23"/>
          <p:cNvPicPr>
            <a:picLocks noChangeAspect="1"/>
          </p:cNvPicPr>
          <p:nvPr/>
        </p:nvPicPr>
        <p:blipFill>
          <a:blip r:embed="rId16">
            <a:duotone>
              <a:schemeClr val="bg2">
                <a:shade val="45000"/>
                <a:satMod val="135000"/>
              </a:schemeClr>
              <a:prstClr val="white"/>
            </a:duotone>
          </a:blip>
          <a:stretch>
            <a:fillRect/>
          </a:stretch>
        </p:blipFill>
        <p:spPr>
          <a:xfrm>
            <a:off x="8550400" y="5701816"/>
            <a:ext cx="340197" cy="405178"/>
          </a:xfrm>
          <a:prstGeom prst="rect">
            <a:avLst/>
          </a:prstGeom>
        </p:spPr>
      </p:pic>
      <p:sp>
        <p:nvSpPr>
          <p:cNvPr id="26" name="Text Placeholder 12"/>
          <p:cNvSpPr txBox="1">
            <a:spLocks/>
          </p:cNvSpPr>
          <p:nvPr>
            <p:custDataLst>
              <p:tags r:id="rId3"/>
            </p:custDataLst>
          </p:nvPr>
        </p:nvSpPr>
        <p:spPr>
          <a:xfrm>
            <a:off x="2447923"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hare of customer contracts with </a:t>
            </a:r>
            <a:r>
              <a:rPr lang="en-US" sz="900" kern="0" dirty="0" err="1">
                <a:latin typeface="Arial" panose="020B0604020202020204" pitchFamily="34" charset="0"/>
                <a:cs typeface="Arial" panose="020B0604020202020204" pitchFamily="34" charset="0"/>
              </a:rPr>
              <a:t>CoC</a:t>
            </a:r>
            <a:r>
              <a:rPr lang="en-US" sz="900" kern="0" dirty="0">
                <a:latin typeface="Arial" panose="020B0604020202020204" pitchFamily="34" charset="0"/>
                <a:cs typeface="Arial" panose="020B0604020202020204" pitchFamily="34" charset="0"/>
              </a:rPr>
              <a:t> clauses</a:t>
            </a:r>
          </a:p>
        </p:txBody>
      </p:sp>
      <p:pic>
        <p:nvPicPr>
          <p:cNvPr id="30" name="Grafik 29"/>
          <p:cNvPicPr>
            <a:picLocks/>
          </p:cNvPicPr>
          <p:nvPr/>
        </p:nvPicPr>
        <p:blipFill>
          <a:blip r:embed="rId17">
            <a:duotone>
              <a:schemeClr val="bg2">
                <a:shade val="45000"/>
                <a:satMod val="135000"/>
              </a:schemeClr>
              <a:prstClr val="white"/>
            </a:duotone>
          </a:blip>
          <a:stretch>
            <a:fillRect/>
          </a:stretch>
        </p:blipFill>
        <p:spPr>
          <a:xfrm>
            <a:off x="9117630" y="5701816"/>
            <a:ext cx="340197" cy="405178"/>
          </a:xfrm>
          <a:prstGeom prst="rect">
            <a:avLst/>
          </a:prstGeom>
        </p:spPr>
      </p:pic>
      <p:pic>
        <p:nvPicPr>
          <p:cNvPr id="31" name="Grafik 30"/>
          <p:cNvPicPr>
            <a:picLocks/>
          </p:cNvPicPr>
          <p:nvPr/>
        </p:nvPicPr>
        <p:blipFill>
          <a:blip r:embed="rId18">
            <a:duotone>
              <a:schemeClr val="bg2">
                <a:shade val="45000"/>
                <a:satMod val="135000"/>
              </a:schemeClr>
              <a:prstClr val="white"/>
            </a:duotone>
          </a:blip>
          <a:stretch>
            <a:fillRect/>
          </a:stretch>
        </p:blipFill>
        <p:spPr>
          <a:xfrm>
            <a:off x="8834016" y="5701816"/>
            <a:ext cx="340197" cy="405178"/>
          </a:xfrm>
          <a:prstGeom prst="rect">
            <a:avLst/>
          </a:prstGeom>
        </p:spPr>
      </p:pic>
      <p:pic>
        <p:nvPicPr>
          <p:cNvPr id="12" name="Grafik 11"/>
          <p:cNvPicPr>
            <a:picLocks noChangeAspect="1"/>
          </p:cNvPicPr>
          <p:nvPr>
            <p:custDataLst>
              <p:tags r:id="rId4"/>
            </p:custDataLst>
          </p:nvPr>
        </p:nvPicPr>
        <p:blipFill rotWithShape="1">
          <a:blip r:embed="rId19"/>
          <a:srcRect l="2066" t="10764" r="21525" b="15774"/>
          <a:stretch/>
        </p:blipFill>
        <p:spPr>
          <a:xfrm>
            <a:off x="2437630" y="1749951"/>
            <a:ext cx="3398836" cy="1986027"/>
          </a:xfrm>
          <a:prstGeom prst="rect">
            <a:avLst/>
          </a:prstGeom>
        </p:spPr>
      </p:pic>
      <p:grpSp>
        <p:nvGrpSpPr>
          <p:cNvPr id="28" name="Group 2"/>
          <p:cNvGrpSpPr/>
          <p:nvPr>
            <p:custDataLst>
              <p:tags r:id="rId5"/>
            </p:custDataLst>
          </p:nvPr>
        </p:nvGrpSpPr>
        <p:grpSpPr>
          <a:xfrm>
            <a:off x="2943497" y="1611084"/>
            <a:ext cx="2333897" cy="1654629"/>
            <a:chOff x="-755730" y="5561012"/>
            <a:chExt cx="2174657" cy="1624013"/>
          </a:xfrm>
        </p:grpSpPr>
        <p:sp>
          <p:nvSpPr>
            <p:cNvPr id="29" name="Rectangle 2"/>
            <p:cNvSpPr>
              <a:spLocks noChangeArrowheads="1"/>
            </p:cNvSpPr>
            <p:nvPr>
              <p:custDataLst>
                <p:tags r:id="rId7"/>
              </p:custDataLst>
            </p:nvPr>
          </p:nvSpPr>
          <p:spPr bwMode="auto">
            <a:xfrm>
              <a:off x="-171494" y="5561012"/>
              <a:ext cx="1590421"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2" name="Rectangle 2"/>
            <p:cNvSpPr>
              <a:spLocks noChangeArrowheads="1"/>
            </p:cNvSpPr>
            <p:nvPr>
              <p:custDataLst>
                <p:tags r:id="rId8"/>
              </p:custDataLst>
            </p:nvPr>
          </p:nvSpPr>
          <p:spPr bwMode="auto">
            <a:xfrm>
              <a:off x="-755730" y="5561012"/>
              <a:ext cx="494978"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7" name="Grafik 6"/>
          <p:cNvPicPr>
            <a:picLocks noChangeAspect="1"/>
          </p:cNvPicPr>
          <p:nvPr>
            <p:custDataLst>
              <p:tags r:id="rId6"/>
            </p:custDataLst>
          </p:nvPr>
        </p:nvPicPr>
        <p:blipFill>
          <a:blip r:embed="rId20"/>
          <a:stretch>
            <a:fillRect/>
          </a:stretch>
        </p:blipFill>
        <p:spPr>
          <a:xfrm>
            <a:off x="-2793400" y="2204260"/>
            <a:ext cx="2024047" cy="2219136"/>
          </a:xfrm>
          <a:prstGeom prst="rect">
            <a:avLst/>
          </a:prstGeom>
        </p:spPr>
      </p:pic>
      <p:graphicFrame>
        <p:nvGraphicFramePr>
          <p:cNvPr id="25" name="Objekt 24"/>
          <p:cNvGraphicFramePr>
            <a:graphicFrameLocks noChangeAspect="1"/>
          </p:cNvGraphicFramePr>
          <p:nvPr>
            <p:extLst>
              <p:ext uri="{D42A27DB-BD31-4B8C-83A1-F6EECF244321}">
                <p14:modId xmlns:p14="http://schemas.microsoft.com/office/powerpoint/2010/main" val="1963560453"/>
              </p:ext>
            </p:extLst>
          </p:nvPr>
        </p:nvGraphicFramePr>
        <p:xfrm>
          <a:off x="-1781377" y="4580229"/>
          <a:ext cx="914400" cy="771525"/>
        </p:xfrm>
        <a:graphic>
          <a:graphicData uri="http://schemas.openxmlformats.org/presentationml/2006/ole">
            <mc:AlternateContent xmlns:mc="http://schemas.openxmlformats.org/markup-compatibility/2006">
              <mc:Choice xmlns:v="urn:schemas-microsoft-com:vml" Requires="v">
                <p:oleObj spid="_x0000_s19491" name="Arbeitsblatt" showAsIcon="1" r:id="rId22" imgW="914400" imgH="771480" progId="Excel.Sheet.12">
                  <p:embed/>
                </p:oleObj>
              </mc:Choice>
              <mc:Fallback>
                <p:oleObj name="Arbeitsblatt" showAsIcon="1" r:id="rId22" imgW="914400" imgH="771480" progId="Excel.Sheet.12">
                  <p:embed/>
                  <p:pic>
                    <p:nvPicPr>
                      <p:cNvPr id="0" name=""/>
                      <p:cNvPicPr/>
                      <p:nvPr/>
                    </p:nvPicPr>
                    <p:blipFill>
                      <a:blip r:embed="rId23"/>
                      <a:stretch>
                        <a:fillRect/>
                      </a:stretch>
                    </p:blipFill>
                    <p:spPr>
                      <a:xfrm>
                        <a:off x="-1781377" y="458022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6983166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35108451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Sales and Gross Profit (Planning</a:t>
            </a:r>
            <a:r>
              <a:rPr lang="en-US" dirty="0"/>
              <a:t>) </a:t>
            </a:r>
          </a:p>
        </p:txBody>
      </p:sp>
      <p:sp>
        <p:nvSpPr>
          <p:cNvPr id="4" name="Titel 3"/>
          <p:cNvSpPr>
            <a:spLocks noGrp="1"/>
          </p:cNvSpPr>
          <p:nvPr>
            <p:ph type="title"/>
          </p:nvPr>
        </p:nvSpPr>
        <p:spPr/>
        <p:txBody>
          <a:bodyPr/>
          <a:lstStyle/>
          <a:p>
            <a:r>
              <a:rPr lang="en-US" dirty="0" smtClean="0"/>
              <a:t>Overview (1/7)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smtClean="0">
                  <a:solidFill>
                    <a:schemeClr val="bg1"/>
                  </a:solidFill>
                </a:rPr>
                <a:t>The goal is the estimation of the plausibility of the planning of sales and gross profit on the basis of transparency of the major planning assumptions and their consistency with the past, market and competitive analysis</a:t>
              </a:r>
              <a:endParaRPr lang="en-US" sz="800" i="1" dirty="0">
                <a:solidFill>
                  <a:schemeClr val="bg1"/>
                </a:solidFill>
                <a:latin typeface="Arial" pitchFamily="34" charset="0"/>
                <a:cs typeface="Arial" pitchFamily="34" charset="0"/>
              </a:endParaRPr>
            </a:p>
          </p:txBody>
        </p:sp>
      </p:grpSp>
      <p:sp>
        <p:nvSpPr>
          <p:cNvPr id="26" name="Text Placeholder 5"/>
          <p:cNvSpPr>
            <a:spLocks noGrp="1"/>
          </p:cNvSpPr>
          <p:nvPr>
            <p:ph type="body" sz="quarter" idx="11"/>
          </p:nvPr>
        </p:nvSpPr>
        <p:spPr>
          <a:xfrm>
            <a:off x="498098" y="2153260"/>
            <a:ext cx="1857176" cy="2086159"/>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Turnaround</a:t>
            </a:r>
          </a:p>
          <a:p>
            <a:pPr lvl="2">
              <a:spcAft>
                <a:spcPts val="500"/>
              </a:spcAft>
            </a:pPr>
            <a:r>
              <a:rPr lang="en-US" dirty="0"/>
              <a:t>Sales and gross profit planning as material initial parameters for the derivation of the cash flow and therefore material drivers for valuations, purchase price determination, assessment of the potential for restructuring</a:t>
            </a:r>
          </a:p>
          <a:p>
            <a:pPr lvl="2">
              <a:spcAft>
                <a:spcPts val="500"/>
              </a:spcAft>
            </a:pPr>
            <a:r>
              <a:rPr lang="en-US" dirty="0"/>
              <a:t>Analysis of the ambitiousness of the planning for negotiations, adjustments of purchase price (e.g. earn outs), internal transactions and tax purposes as well as assessment potential for restructuring</a:t>
            </a:r>
          </a:p>
        </p:txBody>
      </p:sp>
      <p:sp>
        <p:nvSpPr>
          <p:cNvPr id="28" name="Rechteck 18"/>
          <p:cNvSpPr/>
          <p:nvPr/>
        </p:nvSpPr>
        <p:spPr>
          <a:xfrm>
            <a:off x="2493817" y="1875810"/>
            <a:ext cx="6923233"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864162"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98097" y="4606982"/>
            <a:ext cx="1864162"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4913744"/>
            <a:ext cx="1857176" cy="1107643"/>
          </a:xfrm>
          <a:ln w="6350">
            <a:noFill/>
          </a:ln>
        </p:spPr>
        <p:txBody>
          <a:bodyPr vert="horz" lIns="0" tIns="0" rIns="0" bIns="0" rtlCol="0" anchor="t" anchorCtr="0">
            <a:noAutofit/>
          </a:bodyPr>
          <a:lstStyle/>
          <a:p>
            <a:pPr lvl="2">
              <a:spcAft>
                <a:spcPts val="500"/>
              </a:spcAft>
            </a:pPr>
            <a:r>
              <a:rPr lang="en-US" dirty="0"/>
              <a:t>Linking of the past and planning as well as the market and competitive analysis</a:t>
            </a:r>
          </a:p>
          <a:p>
            <a:pPr lvl="2">
              <a:spcAft>
                <a:spcPts val="500"/>
              </a:spcAft>
            </a:pPr>
            <a:r>
              <a:rPr lang="en-US" dirty="0" smtClean="0"/>
              <a:t>Determination </a:t>
            </a:r>
            <a:r>
              <a:rPr lang="en-US" dirty="0"/>
              <a:t>and collection of sector-specific KPIs </a:t>
            </a:r>
            <a:r>
              <a:rPr lang="en-US" dirty="0" smtClean="0"/>
              <a:t>(e.g. Benchmarking Plus)</a:t>
            </a:r>
            <a:endParaRPr lang="en-US" dirty="0"/>
          </a:p>
        </p:txBody>
      </p:sp>
      <p:sp>
        <p:nvSpPr>
          <p:cNvPr id="13" name="Text Placeholder 5"/>
          <p:cNvSpPr>
            <a:spLocks noGrp="1"/>
          </p:cNvSpPr>
          <p:nvPr>
            <p:ph type="body" sz="quarter" idx="11"/>
          </p:nvPr>
        </p:nvSpPr>
        <p:spPr>
          <a:xfrm>
            <a:off x="5486400" y="2153260"/>
            <a:ext cx="3930650" cy="3868128"/>
          </a:xfrm>
          <a:ln w="6350">
            <a:noFill/>
          </a:ln>
        </p:spPr>
        <p:txBody>
          <a:bodyPr vert="horz" lIns="0" tIns="0" rIns="0" bIns="0" rtlCol="0" anchor="t" anchorCtr="0">
            <a:noAutofit/>
          </a:bodyPr>
          <a:lstStyle/>
          <a:p>
            <a:pPr>
              <a:spcBef>
                <a:spcPts val="600"/>
              </a:spcBef>
            </a:pPr>
            <a:r>
              <a:rPr lang="en-US" sz="900" dirty="0"/>
              <a:t>Definition</a:t>
            </a:r>
          </a:p>
          <a:p>
            <a:pPr lvl="2">
              <a:spcBef>
                <a:spcPts val="600"/>
              </a:spcBef>
              <a:spcAft>
                <a:spcPts val="0"/>
              </a:spcAft>
            </a:pPr>
            <a:r>
              <a:rPr lang="en-US" dirty="0"/>
              <a:t>Sales and gross profit are to be determined, in accordance last balance sheet/audited figures or on the basis of the definition of the Controlling/Management Reporting of the target. When applying the definition of the Controlling/Management Reporting of the target, the conversion to the balance sheet/audited financial information is to be assured.</a:t>
            </a:r>
          </a:p>
          <a:p>
            <a:pPr lvl="2">
              <a:spcBef>
                <a:spcPts val="600"/>
              </a:spcBef>
              <a:spcAft>
                <a:spcPts val="0"/>
              </a:spcAft>
            </a:pPr>
            <a:r>
              <a:rPr lang="en-US" dirty="0"/>
              <a:t>Pay attention to comparability of the definition of sales and gross profit (e.g. net sales, </a:t>
            </a:r>
            <a:r>
              <a:rPr lang="en-US" dirty="0" smtClean="0"/>
              <a:t>capitalization </a:t>
            </a:r>
            <a:r>
              <a:rPr lang="en-US" dirty="0"/>
              <a:t>options </a:t>
            </a:r>
            <a:r>
              <a:rPr lang="en-US" dirty="0" err="1"/>
              <a:t>opex</a:t>
            </a:r>
            <a:r>
              <a:rPr lang="en-US" dirty="0"/>
              <a:t> vs. capex) to competitors or market studies!</a:t>
            </a:r>
          </a:p>
          <a:p>
            <a:pPr>
              <a:spcBef>
                <a:spcPts val="600"/>
              </a:spcBef>
            </a:pPr>
            <a:r>
              <a:rPr lang="en-US" sz="900" dirty="0"/>
              <a:t>Methodology</a:t>
            </a:r>
          </a:p>
          <a:p>
            <a:pPr lvl="2">
              <a:spcBef>
                <a:spcPts val="600"/>
              </a:spcBef>
              <a:spcAft>
                <a:spcPts val="0"/>
              </a:spcAft>
            </a:pPr>
            <a:r>
              <a:rPr lang="en-US" dirty="0"/>
              <a:t>Discussions with planning </a:t>
            </a:r>
            <a:r>
              <a:rPr lang="en-US" dirty="0" smtClean="0"/>
              <a:t>responsible persons</a:t>
            </a:r>
            <a:endParaRPr lang="en-US" dirty="0"/>
          </a:p>
          <a:p>
            <a:pPr lvl="2">
              <a:spcBef>
                <a:spcPts val="600"/>
              </a:spcBef>
              <a:spcAft>
                <a:spcPts val="0"/>
              </a:spcAft>
            </a:pPr>
            <a:r>
              <a:rPr lang="en-US" dirty="0"/>
              <a:t>Transparent and consistent linking of the results of the competitive analysis from the past analysis and market and competitive analysis with planning analysis (generally also joint presentation)</a:t>
            </a:r>
          </a:p>
          <a:p>
            <a:pPr lvl="2">
              <a:spcBef>
                <a:spcPts val="600"/>
              </a:spcBef>
              <a:spcAft>
                <a:spcPts val="0"/>
              </a:spcAft>
            </a:pPr>
            <a:r>
              <a:rPr lang="en-US" dirty="0"/>
              <a:t>Analysis and/or presentation at selected levels (e.g. group, legal entity, segment, profit </a:t>
            </a:r>
            <a:r>
              <a:rPr lang="en-US" dirty="0" smtClean="0"/>
              <a:t>center, </a:t>
            </a:r>
            <a:r>
              <a:rPr lang="en-US" dirty="0"/>
              <a:t>product group, region, etc.) in accordance with the necessity, appropriateness and data situation in the specific case </a:t>
            </a:r>
          </a:p>
          <a:p>
            <a:pPr>
              <a:spcBef>
                <a:spcPts val="600"/>
              </a:spcBef>
            </a:pPr>
            <a:r>
              <a:rPr lang="en-US" sz="900" dirty="0" smtClean="0"/>
              <a:t>Tools</a:t>
            </a:r>
            <a:endParaRPr lang="en-US" dirty="0"/>
          </a:p>
          <a:p>
            <a:pPr lvl="2">
              <a:spcBef>
                <a:spcPts val="600"/>
              </a:spcBef>
              <a:spcAft>
                <a:spcPts val="0"/>
              </a:spcAft>
            </a:pPr>
            <a:r>
              <a:rPr lang="en-US" dirty="0" smtClean="0"/>
              <a:t>Benchmarking Plus</a:t>
            </a:r>
            <a:endParaRPr lang="en-US" i="1" dirty="0" smtClean="0"/>
          </a:p>
        </p:txBody>
      </p:sp>
      <p:sp>
        <p:nvSpPr>
          <p:cNvPr id="27" name="Text Placeholder 12"/>
          <p:cNvSpPr txBox="1">
            <a:spLocks/>
          </p:cNvSpPr>
          <p:nvPr>
            <p:custDataLst>
              <p:tags r:id="rId2"/>
            </p:custDataLst>
          </p:nvPr>
        </p:nvSpPr>
        <p:spPr>
          <a:xfrm>
            <a:off x="2484035" y="2515457"/>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EBIT and EBIT margin over time</a:t>
            </a:r>
            <a:endParaRPr lang="en-US" sz="900" kern="0" dirty="0">
              <a:latin typeface="Arial" panose="020B0604020202020204" pitchFamily="34" charset="0"/>
              <a:cs typeface="Arial" panose="020B0604020202020204" pitchFamily="34" charset="0"/>
            </a:endParaRPr>
          </a:p>
        </p:txBody>
      </p:sp>
      <p:sp>
        <p:nvSpPr>
          <p:cNvPr id="30" name="Text Placeholder 12"/>
          <p:cNvSpPr txBox="1">
            <a:spLocks/>
          </p:cNvSpPr>
          <p:nvPr>
            <p:custDataLst>
              <p:tags r:id="rId3"/>
            </p:custDataLst>
          </p:nvPr>
        </p:nvSpPr>
        <p:spPr>
          <a:xfrm>
            <a:off x="2493817" y="4167688"/>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omposition of expenses and expenses ratios</a:t>
            </a:r>
            <a:endParaRPr lang="en-US" sz="900" kern="0" dirty="0">
              <a:latin typeface="Arial" panose="020B0604020202020204" pitchFamily="34" charset="0"/>
              <a:cs typeface="Arial" panose="020B0604020202020204" pitchFamily="34" charset="0"/>
            </a:endParaRPr>
          </a:p>
        </p:txBody>
      </p:sp>
      <p:pic>
        <p:nvPicPr>
          <p:cNvPr id="35" name="Grafik 34"/>
          <p:cNvPicPr>
            <a:picLocks noChangeAspect="1"/>
          </p:cNvPicPr>
          <p:nvPr>
            <p:custDataLst>
              <p:tags r:id="rId4"/>
            </p:custDataLst>
          </p:nvPr>
        </p:nvPicPr>
        <p:blipFill rotWithShape="1">
          <a:blip r:embed="rId11"/>
          <a:srcRect l="1860" t="12391" r="3073" b="7542"/>
          <a:stretch/>
        </p:blipFill>
        <p:spPr>
          <a:xfrm>
            <a:off x="2410837" y="2659430"/>
            <a:ext cx="2872740" cy="1539240"/>
          </a:xfrm>
          <a:prstGeom prst="rect">
            <a:avLst/>
          </a:prstGeom>
        </p:spPr>
      </p:pic>
      <p:sp>
        <p:nvSpPr>
          <p:cNvPr id="36" name="Rectangle 25"/>
          <p:cNvSpPr/>
          <p:nvPr/>
        </p:nvSpPr>
        <p:spPr>
          <a:xfrm>
            <a:off x="2493817" y="2151848"/>
            <a:ext cx="2789760" cy="339891"/>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US" sz="900" dirty="0" smtClean="0">
                <a:solidFill>
                  <a:srgbClr val="FFFFFF"/>
                </a:solidFill>
                <a:latin typeface="Arial" pitchFamily="34" charset="0"/>
                <a:cs typeface="Arial" pitchFamily="34" charset="0"/>
              </a:rPr>
              <a:t>Cost of Sales (</a:t>
            </a:r>
            <a:r>
              <a:rPr lang="en-US" sz="900" dirty="0" err="1" smtClean="0">
                <a:solidFill>
                  <a:srgbClr val="FFFFFF"/>
                </a:solidFill>
                <a:latin typeface="Arial" pitchFamily="34" charset="0"/>
                <a:cs typeface="Arial" pitchFamily="34" charset="0"/>
              </a:rPr>
              <a:t>CoS</a:t>
            </a:r>
            <a:r>
              <a:rPr lang="en-US" sz="900" dirty="0" smtClean="0">
                <a:solidFill>
                  <a:srgbClr val="FFFFFF"/>
                </a:solidFill>
                <a:latin typeface="Arial" pitchFamily="34" charset="0"/>
                <a:cs typeface="Arial" pitchFamily="34" charset="0"/>
              </a:rPr>
              <a:t>): The earnings attained are compared to the expenses required for these.</a:t>
            </a:r>
            <a:endParaRPr lang="en-US" sz="900" dirty="0">
              <a:solidFill>
                <a:srgbClr val="FFFFFF"/>
              </a:solidFill>
              <a:latin typeface="Arial" pitchFamily="34" charset="0"/>
              <a:cs typeface="Arial" pitchFamily="34" charset="0"/>
            </a:endParaRPr>
          </a:p>
        </p:txBody>
      </p:sp>
      <p:pic>
        <p:nvPicPr>
          <p:cNvPr id="37" name="Grafik 36"/>
          <p:cNvPicPr>
            <a:picLocks noChangeAspect="1"/>
          </p:cNvPicPr>
          <p:nvPr>
            <p:custDataLst>
              <p:tags r:id="rId5"/>
            </p:custDataLst>
          </p:nvPr>
        </p:nvPicPr>
        <p:blipFill rotWithShape="1">
          <a:blip r:embed="rId12"/>
          <a:srcRect t="13020"/>
          <a:stretch/>
        </p:blipFill>
        <p:spPr>
          <a:xfrm>
            <a:off x="2397063" y="4342644"/>
            <a:ext cx="2867960" cy="1816222"/>
          </a:xfrm>
          <a:prstGeom prst="rect">
            <a:avLst/>
          </a:prstGeom>
        </p:spPr>
      </p:pic>
      <p:sp>
        <p:nvSpPr>
          <p:cNvPr id="21" name="Rectangle 4"/>
          <p:cNvSpPr>
            <a:spLocks noChangeArrowheads="1"/>
          </p:cNvSpPr>
          <p:nvPr>
            <p:custDataLst>
              <p:tags r:id="rId6"/>
            </p:custDataLst>
          </p:nvPr>
        </p:nvSpPr>
        <p:spPr bwMode="auto">
          <a:xfrm>
            <a:off x="7410995" y="620288"/>
            <a:ext cx="2006055" cy="709038"/>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Benchmarking </a:t>
            </a:r>
            <a:r>
              <a:rPr lang="en-US" sz="900" dirty="0">
                <a:solidFill>
                  <a:schemeClr val="bg1"/>
                </a:solidFill>
              </a:rPr>
              <a:t>Plus tool is available in Germany. Please ask </a:t>
            </a:r>
            <a:r>
              <a:rPr lang="en-US" sz="900" dirty="0" smtClean="0">
                <a:solidFill>
                  <a:schemeClr val="bg1"/>
                </a:solidFill>
              </a:rPr>
              <a:t>for benchmarking options in your region.</a:t>
            </a:r>
            <a:endParaRPr lang="en-US" sz="900" dirty="0">
              <a:solidFill>
                <a:schemeClr val="bg1"/>
              </a:solidFill>
            </a:endParaRPr>
          </a:p>
        </p:txBody>
      </p:sp>
      <p:pic>
        <p:nvPicPr>
          <p:cNvPr id="3" name="Grafik 2"/>
          <p:cNvPicPr>
            <a:picLocks noChangeAspect="1"/>
          </p:cNvPicPr>
          <p:nvPr>
            <p:custDataLst>
              <p:tags r:id="rId7"/>
            </p:custDataLst>
          </p:nvPr>
        </p:nvPicPr>
        <p:blipFill>
          <a:blip r:embed="rId13"/>
          <a:stretch>
            <a:fillRect/>
          </a:stretch>
        </p:blipFill>
        <p:spPr>
          <a:xfrm>
            <a:off x="-2784608" y="1463534"/>
            <a:ext cx="1999661" cy="2225233"/>
          </a:xfrm>
          <a:prstGeom prst="rect">
            <a:avLst/>
          </a:prstGeom>
        </p:spPr>
      </p:pic>
      <p:pic>
        <p:nvPicPr>
          <p:cNvPr id="10" name="Grafik 9"/>
          <p:cNvPicPr>
            <a:picLocks noChangeAspect="1"/>
          </p:cNvPicPr>
          <p:nvPr>
            <p:custDataLst>
              <p:tags r:id="rId8"/>
            </p:custDataLst>
          </p:nvPr>
        </p:nvPicPr>
        <p:blipFill>
          <a:blip r:embed="rId14"/>
          <a:stretch>
            <a:fillRect/>
          </a:stretch>
        </p:blipFill>
        <p:spPr>
          <a:xfrm>
            <a:off x="-2784608" y="3796154"/>
            <a:ext cx="1999661" cy="2225233"/>
          </a:xfrm>
          <a:prstGeom prst="rect">
            <a:avLst/>
          </a:prstGeom>
        </p:spPr>
      </p:pic>
      <p:graphicFrame>
        <p:nvGraphicFramePr>
          <p:cNvPr id="33" name="Objekt 32"/>
          <p:cNvGraphicFramePr>
            <a:graphicFrameLocks noChangeAspect="1"/>
          </p:cNvGraphicFramePr>
          <p:nvPr>
            <p:extLst>
              <p:ext uri="{D42A27DB-BD31-4B8C-83A1-F6EECF244321}">
                <p14:modId xmlns:p14="http://schemas.microsoft.com/office/powerpoint/2010/main" val="1043128901"/>
              </p:ext>
            </p:extLst>
          </p:nvPr>
        </p:nvGraphicFramePr>
        <p:xfrm>
          <a:off x="-1699347" y="692009"/>
          <a:ext cx="914400" cy="771525"/>
        </p:xfrm>
        <a:graphic>
          <a:graphicData uri="http://schemas.openxmlformats.org/presentationml/2006/ole">
            <mc:AlternateContent xmlns:mc="http://schemas.openxmlformats.org/markup-compatibility/2006">
              <mc:Choice xmlns:v="urn:schemas-microsoft-com:vml" Requires="v">
                <p:oleObj spid="_x0000_s15439" name="Arbeitsblatt" showAsIcon="1" r:id="rId16" imgW="914400" imgH="771480" progId="Excel.Sheet.12">
                  <p:embed/>
                </p:oleObj>
              </mc:Choice>
              <mc:Fallback>
                <p:oleObj name="Arbeitsblatt" showAsIcon="1" r:id="rId16" imgW="914400" imgH="771480" progId="Excel.Sheet.12">
                  <p:embed/>
                  <p:pic>
                    <p:nvPicPr>
                      <p:cNvPr id="0" name=""/>
                      <p:cNvPicPr/>
                      <p:nvPr/>
                    </p:nvPicPr>
                    <p:blipFill>
                      <a:blip r:embed="rId17"/>
                      <a:stretch>
                        <a:fillRect/>
                      </a:stretch>
                    </p:blipFill>
                    <p:spPr>
                      <a:xfrm>
                        <a:off x="-1699347" y="69200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Sales and Gross Profit (Planning) </a:t>
            </a:r>
          </a:p>
        </p:txBody>
      </p:sp>
      <p:sp>
        <p:nvSpPr>
          <p:cNvPr id="4" name="Titel 3"/>
          <p:cNvSpPr>
            <a:spLocks noGrp="1"/>
          </p:cNvSpPr>
          <p:nvPr>
            <p:ph type="title"/>
          </p:nvPr>
        </p:nvSpPr>
        <p:spPr/>
        <p:txBody>
          <a:bodyPr/>
          <a:lstStyle/>
          <a:p>
            <a:r>
              <a:rPr lang="en-US" dirty="0"/>
              <a:t>Overview </a:t>
            </a:r>
            <a:r>
              <a:rPr lang="en-US" dirty="0" smtClean="0"/>
              <a:t>(2/7) </a:t>
            </a:r>
            <a:r>
              <a:rPr lang="en-US" dirty="0"/>
              <a:t>– </a:t>
            </a:r>
            <a:r>
              <a:rPr lang="en-US" dirty="0" smtClean="0"/>
              <a:t>Analysis puzzle</a:t>
            </a:r>
            <a:endParaRPr lang="en-US" dirty="0"/>
          </a:p>
        </p:txBody>
      </p:sp>
      <p:grpSp>
        <p:nvGrpSpPr>
          <p:cNvPr id="2" name="Gruppieren 1"/>
          <p:cNvGrpSpPr/>
          <p:nvPr/>
        </p:nvGrpSpPr>
        <p:grpSpPr>
          <a:xfrm>
            <a:off x="488950" y="1332554"/>
            <a:ext cx="8937283" cy="4658720"/>
            <a:chOff x="272481" y="1101645"/>
            <a:chExt cx="9361039" cy="4658720"/>
          </a:xfrm>
        </p:grpSpPr>
        <p:sp>
          <p:nvSpPr>
            <p:cNvPr id="78" name="Freihandform 77"/>
            <p:cNvSpPr/>
            <p:nvPr/>
          </p:nvSpPr>
          <p:spPr>
            <a:xfrm>
              <a:off x="8193360" y="1124744"/>
              <a:ext cx="676408" cy="4363095"/>
            </a:xfrm>
            <a:custGeom>
              <a:avLst/>
              <a:gdLst>
                <a:gd name="connsiteX0" fmla="*/ 0 w 537964"/>
                <a:gd name="connsiteY0" fmla="*/ 0 h 4968329"/>
                <a:gd name="connsiteX1" fmla="*/ 537964 w 537964"/>
                <a:gd name="connsiteY1" fmla="*/ 0 h 4968329"/>
                <a:gd name="connsiteX2" fmla="*/ 537964 w 537964"/>
                <a:gd name="connsiteY2" fmla="*/ 4968329 h 4968329"/>
                <a:gd name="connsiteX3" fmla="*/ 0 w 537964"/>
                <a:gd name="connsiteY3" fmla="*/ 4968329 h 4968329"/>
                <a:gd name="connsiteX4" fmla="*/ 0 w 537964"/>
                <a:gd name="connsiteY4"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1 w 539055"/>
                <a:gd name="connsiteY5" fmla="*/ 0 h 4968329"/>
                <a:gd name="connsiteX0" fmla="*/ 89313 w 627277"/>
                <a:gd name="connsiteY0" fmla="*/ 543632 h 5511961"/>
                <a:gd name="connsiteX1" fmla="*/ 627277 w 627277"/>
                <a:gd name="connsiteY1" fmla="*/ 543632 h 5511961"/>
                <a:gd name="connsiteX2" fmla="*/ 627277 w 627277"/>
                <a:gd name="connsiteY2" fmla="*/ 5511961 h 5511961"/>
                <a:gd name="connsiteX3" fmla="*/ 89313 w 627277"/>
                <a:gd name="connsiteY3" fmla="*/ 5511961 h 5511961"/>
                <a:gd name="connsiteX4" fmla="*/ 88222 w 627277"/>
                <a:gd name="connsiteY4" fmla="*/ 807380 h 5511961"/>
                <a:gd name="connsiteX5" fmla="*/ 91398 w 627277"/>
                <a:gd name="connsiteY5" fmla="*/ 667680 h 5511961"/>
                <a:gd name="connsiteX6" fmla="*/ 89313 w 627277"/>
                <a:gd name="connsiteY6" fmla="*/ 543632 h 5511961"/>
                <a:gd name="connsiteX0" fmla="*/ 89313 w 627277"/>
                <a:gd name="connsiteY0" fmla="*/ 0 h 4968329"/>
                <a:gd name="connsiteX1" fmla="*/ 627277 w 627277"/>
                <a:gd name="connsiteY1" fmla="*/ 0 h 4968329"/>
                <a:gd name="connsiteX2" fmla="*/ 627277 w 627277"/>
                <a:gd name="connsiteY2" fmla="*/ 4968329 h 4968329"/>
                <a:gd name="connsiteX3" fmla="*/ 89313 w 627277"/>
                <a:gd name="connsiteY3" fmla="*/ 4968329 h 4968329"/>
                <a:gd name="connsiteX4" fmla="*/ 88222 w 627277"/>
                <a:gd name="connsiteY4" fmla="*/ 263748 h 4968329"/>
                <a:gd name="connsiteX5" fmla="*/ 91398 w 627277"/>
                <a:gd name="connsiteY5" fmla="*/ 124048 h 4968329"/>
                <a:gd name="connsiteX6" fmla="*/ 89313 w 627277"/>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091 w 539055"/>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51941 h 5020270"/>
                <a:gd name="connsiteX1" fmla="*/ 539055 w 539055"/>
                <a:gd name="connsiteY1" fmla="*/ 51941 h 5020270"/>
                <a:gd name="connsiteX2" fmla="*/ 539055 w 539055"/>
                <a:gd name="connsiteY2" fmla="*/ 5020270 h 5020270"/>
                <a:gd name="connsiteX3" fmla="*/ 1091 w 539055"/>
                <a:gd name="connsiteY3" fmla="*/ 5020270 h 5020270"/>
                <a:gd name="connsiteX4" fmla="*/ 0 w 539055"/>
                <a:gd name="connsiteY4" fmla="*/ 315689 h 5020270"/>
                <a:gd name="connsiteX5" fmla="*/ 361132 w 539055"/>
                <a:gd name="connsiteY5" fmla="*/ 195957 h 5020270"/>
                <a:gd name="connsiteX6" fmla="*/ 1 w 539055"/>
                <a:gd name="connsiteY6" fmla="*/ 96614 h 5020270"/>
                <a:gd name="connsiteX7" fmla="*/ 1091 w 539055"/>
                <a:gd name="connsiteY7" fmla="*/ 51941 h 5020270"/>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107504 h 5075833"/>
                <a:gd name="connsiteX1" fmla="*/ 539055 w 539055"/>
                <a:gd name="connsiteY1" fmla="*/ 107504 h 5075833"/>
                <a:gd name="connsiteX2" fmla="*/ 539055 w 539055"/>
                <a:gd name="connsiteY2" fmla="*/ 5075833 h 5075833"/>
                <a:gd name="connsiteX3" fmla="*/ 1091 w 539055"/>
                <a:gd name="connsiteY3" fmla="*/ 5075833 h 5075833"/>
                <a:gd name="connsiteX4" fmla="*/ 0 w 539055"/>
                <a:gd name="connsiteY4" fmla="*/ 371252 h 5075833"/>
                <a:gd name="connsiteX5" fmla="*/ 361132 w 539055"/>
                <a:gd name="connsiteY5" fmla="*/ 251520 h 5075833"/>
                <a:gd name="connsiteX6" fmla="*/ 1 w 539055"/>
                <a:gd name="connsiteY6" fmla="*/ 152177 h 5075833"/>
                <a:gd name="connsiteX7" fmla="*/ 1091 w 539055"/>
                <a:gd name="connsiteY7" fmla="*/ 107504 h 5075833"/>
                <a:gd name="connsiteX0" fmla="*/ 1091 w 539055"/>
                <a:gd name="connsiteY0" fmla="*/ 55340 h 5023669"/>
                <a:gd name="connsiteX1" fmla="*/ 539055 w 539055"/>
                <a:gd name="connsiteY1" fmla="*/ 55340 h 5023669"/>
                <a:gd name="connsiteX2" fmla="*/ 539055 w 539055"/>
                <a:gd name="connsiteY2" fmla="*/ 5023669 h 5023669"/>
                <a:gd name="connsiteX3" fmla="*/ 1091 w 539055"/>
                <a:gd name="connsiteY3" fmla="*/ 5023669 h 5023669"/>
                <a:gd name="connsiteX4" fmla="*/ 0 w 539055"/>
                <a:gd name="connsiteY4" fmla="*/ 319088 h 5023669"/>
                <a:gd name="connsiteX5" fmla="*/ 361132 w 539055"/>
                <a:gd name="connsiteY5" fmla="*/ 199356 h 5023669"/>
                <a:gd name="connsiteX6" fmla="*/ 1 w 539055"/>
                <a:gd name="connsiteY6" fmla="*/ 100013 h 5023669"/>
                <a:gd name="connsiteX7" fmla="*/ 1091 w 539055"/>
                <a:gd name="connsiteY7" fmla="*/ 55340 h 5023669"/>
                <a:gd name="connsiteX0" fmla="*/ 1091 w 539055"/>
                <a:gd name="connsiteY0" fmla="*/ 100584 h 5068913"/>
                <a:gd name="connsiteX1" fmla="*/ 539055 w 539055"/>
                <a:gd name="connsiteY1" fmla="*/ 100584 h 5068913"/>
                <a:gd name="connsiteX2" fmla="*/ 539055 w 539055"/>
                <a:gd name="connsiteY2" fmla="*/ 5068913 h 5068913"/>
                <a:gd name="connsiteX3" fmla="*/ 1091 w 539055"/>
                <a:gd name="connsiteY3" fmla="*/ 5068913 h 5068913"/>
                <a:gd name="connsiteX4" fmla="*/ 0 w 539055"/>
                <a:gd name="connsiteY4" fmla="*/ 364332 h 5068913"/>
                <a:gd name="connsiteX5" fmla="*/ 361132 w 539055"/>
                <a:gd name="connsiteY5" fmla="*/ 244600 h 5068913"/>
                <a:gd name="connsiteX6" fmla="*/ 1 w 539055"/>
                <a:gd name="connsiteY6" fmla="*/ 145257 h 5068913"/>
                <a:gd name="connsiteX7" fmla="*/ 1091 w 539055"/>
                <a:gd name="connsiteY7" fmla="*/ 100584 h 5068913"/>
                <a:gd name="connsiteX0" fmla="*/ 1091 w 539055"/>
                <a:gd name="connsiteY0" fmla="*/ 139478 h 5107807"/>
                <a:gd name="connsiteX1" fmla="*/ 539055 w 539055"/>
                <a:gd name="connsiteY1" fmla="*/ 139478 h 5107807"/>
                <a:gd name="connsiteX2" fmla="*/ 539055 w 539055"/>
                <a:gd name="connsiteY2" fmla="*/ 5107807 h 5107807"/>
                <a:gd name="connsiteX3" fmla="*/ 1091 w 539055"/>
                <a:gd name="connsiteY3" fmla="*/ 5107807 h 5107807"/>
                <a:gd name="connsiteX4" fmla="*/ 0 w 539055"/>
                <a:gd name="connsiteY4" fmla="*/ 403226 h 5107807"/>
                <a:gd name="connsiteX5" fmla="*/ 361132 w 539055"/>
                <a:gd name="connsiteY5" fmla="*/ 283494 h 5107807"/>
                <a:gd name="connsiteX6" fmla="*/ 1 w 539055"/>
                <a:gd name="connsiteY6" fmla="*/ 184151 h 5107807"/>
                <a:gd name="connsiteX7" fmla="*/ 1091 w 539055"/>
                <a:gd name="connsiteY7" fmla="*/ 139478 h 5107807"/>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092 w 539055"/>
                <a:gd name="connsiteY6" fmla="*/ 165673 h 5061993"/>
                <a:gd name="connsiteX7" fmla="*/ 1091 w 539055"/>
                <a:gd name="connsiteY7" fmla="*/ 93664 h 5061993"/>
                <a:gd name="connsiteX0" fmla="*/ 1091 w 539055"/>
                <a:gd name="connsiteY0" fmla="*/ 21655 h 4989984"/>
                <a:gd name="connsiteX1" fmla="*/ 539055 w 539055"/>
                <a:gd name="connsiteY1" fmla="*/ 21655 h 4989984"/>
                <a:gd name="connsiteX2" fmla="*/ 539055 w 539055"/>
                <a:gd name="connsiteY2" fmla="*/ 4989984 h 4989984"/>
                <a:gd name="connsiteX3" fmla="*/ 1091 w 539055"/>
                <a:gd name="connsiteY3" fmla="*/ 4989984 h 4989984"/>
                <a:gd name="connsiteX4" fmla="*/ 0 w 539055"/>
                <a:gd name="connsiteY4" fmla="*/ 285403 h 4989984"/>
                <a:gd name="connsiteX5" fmla="*/ 361132 w 539055"/>
                <a:gd name="connsiteY5" fmla="*/ 237680 h 4989984"/>
                <a:gd name="connsiteX6" fmla="*/ 1092 w 539055"/>
                <a:gd name="connsiteY6" fmla="*/ 93664 h 4989984"/>
                <a:gd name="connsiteX7" fmla="*/ 1091 w 539055"/>
                <a:gd name="connsiteY7" fmla="*/ 21655 h 4989984"/>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147415 h 5115744"/>
                <a:gd name="connsiteX1" fmla="*/ 539055 w 539055"/>
                <a:gd name="connsiteY1" fmla="*/ 147415 h 5115744"/>
                <a:gd name="connsiteX2" fmla="*/ 539055 w 539055"/>
                <a:gd name="connsiteY2" fmla="*/ 5115744 h 5115744"/>
                <a:gd name="connsiteX3" fmla="*/ 1091 w 539055"/>
                <a:gd name="connsiteY3" fmla="*/ 5115744 h 5115744"/>
                <a:gd name="connsiteX4" fmla="*/ 0 w 539055"/>
                <a:gd name="connsiteY4" fmla="*/ 411163 h 5115744"/>
                <a:gd name="connsiteX5" fmla="*/ 361132 w 539055"/>
                <a:gd name="connsiteY5" fmla="*/ 293813 h 5115744"/>
                <a:gd name="connsiteX6" fmla="*/ 1092 w 539055"/>
                <a:gd name="connsiteY6" fmla="*/ 219424 h 5115744"/>
                <a:gd name="connsiteX7" fmla="*/ 1091 w 539055"/>
                <a:gd name="connsiteY7" fmla="*/ 147415 h 5115744"/>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433140 w 539055"/>
                <a:gd name="connsiteY5" fmla="*/ 293813 h 5043736"/>
                <a:gd name="connsiteX6" fmla="*/ 1092 w 539055"/>
                <a:gd name="connsiteY6" fmla="*/ 147416 h 5043736"/>
                <a:gd name="connsiteX7" fmla="*/ 1091 w 539055"/>
                <a:gd name="connsiteY7" fmla="*/ 75407 h 5043736"/>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361132 w 539055"/>
                <a:gd name="connsiteY5" fmla="*/ 293813 h 5043736"/>
                <a:gd name="connsiteX6" fmla="*/ 1092 w 539055"/>
                <a:gd name="connsiteY6" fmla="*/ 147416 h 5043736"/>
                <a:gd name="connsiteX7" fmla="*/ 1091 w 539055"/>
                <a:gd name="connsiteY7" fmla="*/ 75407 h 5043736"/>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89842 w 627806"/>
                <a:gd name="connsiteY0" fmla="*/ 109761 h 5695476"/>
                <a:gd name="connsiteX1" fmla="*/ 627806 w 627806"/>
                <a:gd name="connsiteY1" fmla="*/ 109761 h 5695476"/>
                <a:gd name="connsiteX2" fmla="*/ 627806 w 627806"/>
                <a:gd name="connsiteY2" fmla="*/ 5078090 h 5695476"/>
                <a:gd name="connsiteX3" fmla="*/ 89842 w 627806"/>
                <a:gd name="connsiteY3" fmla="*/ 5078090 h 5695476"/>
                <a:gd name="connsiteX4" fmla="*/ 88752 w 627806"/>
                <a:gd name="connsiteY4" fmla="*/ 4911379 h 5695476"/>
                <a:gd name="connsiteX5" fmla="*/ 88751 w 627806"/>
                <a:gd name="connsiteY5" fmla="*/ 373509 h 5695476"/>
                <a:gd name="connsiteX6" fmla="*/ 449883 w 627806"/>
                <a:gd name="connsiteY6" fmla="*/ 328167 h 5695476"/>
                <a:gd name="connsiteX7" fmla="*/ 89843 w 627806"/>
                <a:gd name="connsiteY7" fmla="*/ 184151 h 5695476"/>
                <a:gd name="connsiteX8" fmla="*/ 89842 w 627806"/>
                <a:gd name="connsiteY8" fmla="*/ 109761 h 5695476"/>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0189 w 599243"/>
                <a:gd name="connsiteY4" fmla="*/ 49113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1280 w 599243"/>
                <a:gd name="connsiteY4" fmla="*/ 49366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0486 w 598450"/>
                <a:gd name="connsiteY0" fmla="*/ 109761 h 5567132"/>
                <a:gd name="connsiteX1" fmla="*/ 598450 w 598450"/>
                <a:gd name="connsiteY1" fmla="*/ 109761 h 5567132"/>
                <a:gd name="connsiteX2" fmla="*/ 598450 w 598450"/>
                <a:gd name="connsiteY2" fmla="*/ 5078090 h 5567132"/>
                <a:gd name="connsiteX3" fmla="*/ 60486 w 598450"/>
                <a:gd name="connsiteY3" fmla="*/ 5078090 h 5567132"/>
                <a:gd name="connsiteX4" fmla="*/ 60487 w 598450"/>
                <a:gd name="connsiteY4" fmla="*/ 4936679 h 5567132"/>
                <a:gd name="connsiteX5" fmla="*/ 64159 w 598450"/>
                <a:gd name="connsiteY5" fmla="*/ 4806604 h 5567132"/>
                <a:gd name="connsiteX6" fmla="*/ 59395 w 598450"/>
                <a:gd name="connsiteY6" fmla="*/ 373509 h 5567132"/>
                <a:gd name="connsiteX7" fmla="*/ 420527 w 598450"/>
                <a:gd name="connsiteY7" fmla="*/ 328167 h 5567132"/>
                <a:gd name="connsiteX8" fmla="*/ 60487 w 598450"/>
                <a:gd name="connsiteY8" fmla="*/ 184151 h 5567132"/>
                <a:gd name="connsiteX9" fmla="*/ 60486 w 598450"/>
                <a:gd name="connsiteY9" fmla="*/ 109761 h 5567132"/>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7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864671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89842 w 627806"/>
                <a:gd name="connsiteY0" fmla="*/ 109761 h 5078090"/>
                <a:gd name="connsiteX1" fmla="*/ 627806 w 627806"/>
                <a:gd name="connsiteY1" fmla="*/ 109761 h 5078090"/>
                <a:gd name="connsiteX2" fmla="*/ 627806 w 627806"/>
                <a:gd name="connsiteY2" fmla="*/ 5078090 h 5078090"/>
                <a:gd name="connsiteX3" fmla="*/ 89842 w 627806"/>
                <a:gd name="connsiteY3" fmla="*/ 5078090 h 5078090"/>
                <a:gd name="connsiteX4" fmla="*/ 88751 w 627806"/>
                <a:gd name="connsiteY4" fmla="*/ 4997104 h 5078090"/>
                <a:gd name="connsiteX5" fmla="*/ 89842 w 627806"/>
                <a:gd name="connsiteY5" fmla="*/ 4864671 h 5078090"/>
                <a:gd name="connsiteX6" fmla="*/ 93515 w 627806"/>
                <a:gd name="connsiteY6" fmla="*/ 4806604 h 5078090"/>
                <a:gd name="connsiteX7" fmla="*/ 88751 w 627806"/>
                <a:gd name="connsiteY7" fmla="*/ 373509 h 5078090"/>
                <a:gd name="connsiteX8" fmla="*/ 449883 w 627806"/>
                <a:gd name="connsiteY8" fmla="*/ 328167 h 5078090"/>
                <a:gd name="connsiteX9" fmla="*/ 89843 w 627806"/>
                <a:gd name="connsiteY9" fmla="*/ 184151 h 5078090"/>
                <a:gd name="connsiteX10" fmla="*/ 89842 w 627806"/>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577203"/>
                <a:gd name="connsiteX1" fmla="*/ 598450 w 598450"/>
                <a:gd name="connsiteY1" fmla="*/ 109761 h 5577203"/>
                <a:gd name="connsiteX2" fmla="*/ 598450 w 598450"/>
                <a:gd name="connsiteY2" fmla="*/ 5078090 h 5577203"/>
                <a:gd name="connsiteX3" fmla="*/ 60486 w 598450"/>
                <a:gd name="connsiteY3" fmla="*/ 5078090 h 5577203"/>
                <a:gd name="connsiteX4" fmla="*/ 59395 w 598450"/>
                <a:gd name="connsiteY4" fmla="*/ 4997104 h 5577203"/>
                <a:gd name="connsiteX5" fmla="*/ 64159 w 598450"/>
                <a:gd name="connsiteY5" fmla="*/ 4806604 h 5577203"/>
                <a:gd name="connsiteX6" fmla="*/ 59395 w 598450"/>
                <a:gd name="connsiteY6" fmla="*/ 373509 h 5577203"/>
                <a:gd name="connsiteX7" fmla="*/ 420527 w 598450"/>
                <a:gd name="connsiteY7" fmla="*/ 328167 h 5577203"/>
                <a:gd name="connsiteX8" fmla="*/ 60487 w 598450"/>
                <a:gd name="connsiteY8" fmla="*/ 184151 h 5577203"/>
                <a:gd name="connsiteX9" fmla="*/ 60486 w 598450"/>
                <a:gd name="connsiteY9" fmla="*/ 109761 h 5577203"/>
                <a:gd name="connsiteX0" fmla="*/ 64159 w 598450"/>
                <a:gd name="connsiteY0" fmla="*/ 4806604 h 5088544"/>
                <a:gd name="connsiteX1" fmla="*/ 59395 w 598450"/>
                <a:gd name="connsiteY1" fmla="*/ 373509 h 5088544"/>
                <a:gd name="connsiteX2" fmla="*/ 420527 w 598450"/>
                <a:gd name="connsiteY2" fmla="*/ 328167 h 5088544"/>
                <a:gd name="connsiteX3" fmla="*/ 60487 w 598450"/>
                <a:gd name="connsiteY3" fmla="*/ 184151 h 5088544"/>
                <a:gd name="connsiteX4" fmla="*/ 60486 w 598450"/>
                <a:gd name="connsiteY4" fmla="*/ 109761 h 5088544"/>
                <a:gd name="connsiteX5" fmla="*/ 598450 w 598450"/>
                <a:gd name="connsiteY5" fmla="*/ 109761 h 5088544"/>
                <a:gd name="connsiteX6" fmla="*/ 598450 w 598450"/>
                <a:gd name="connsiteY6" fmla="*/ 5078090 h 5088544"/>
                <a:gd name="connsiteX7" fmla="*/ 60486 w 598450"/>
                <a:gd name="connsiteY7" fmla="*/ 5078090 h 5088544"/>
                <a:gd name="connsiteX8" fmla="*/ 150835 w 598450"/>
                <a:gd name="connsiteY8" fmla="*/ 5088544 h 5088544"/>
                <a:gd name="connsiteX0" fmla="*/ 64159 w 598450"/>
                <a:gd name="connsiteY0" fmla="*/ 4806604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4720655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5080695 h 5080695"/>
                <a:gd name="connsiteX1" fmla="*/ 59395 w 598450"/>
                <a:gd name="connsiteY1" fmla="*/ 373509 h 5080695"/>
                <a:gd name="connsiteX2" fmla="*/ 420527 w 598450"/>
                <a:gd name="connsiteY2" fmla="*/ 328167 h 5080695"/>
                <a:gd name="connsiteX3" fmla="*/ 60487 w 598450"/>
                <a:gd name="connsiteY3" fmla="*/ 184151 h 5080695"/>
                <a:gd name="connsiteX4" fmla="*/ 60486 w 598450"/>
                <a:gd name="connsiteY4" fmla="*/ 109761 h 5080695"/>
                <a:gd name="connsiteX5" fmla="*/ 598450 w 598450"/>
                <a:gd name="connsiteY5" fmla="*/ 109761 h 5080695"/>
                <a:gd name="connsiteX6" fmla="*/ 598450 w 598450"/>
                <a:gd name="connsiteY6" fmla="*/ 5078090 h 5080695"/>
                <a:gd name="connsiteX7" fmla="*/ 60486 w 598450"/>
                <a:gd name="connsiteY7" fmla="*/ 5078090 h 5080695"/>
                <a:gd name="connsiteX0" fmla="*/ 62073 w 600037"/>
                <a:gd name="connsiteY0" fmla="*/ 5080695 h 5567322"/>
                <a:gd name="connsiteX1" fmla="*/ 56220 w 600037"/>
                <a:gd name="connsiteY1" fmla="*/ 4782791 h 5567322"/>
                <a:gd name="connsiteX2" fmla="*/ 60982 w 600037"/>
                <a:gd name="connsiteY2" fmla="*/ 373509 h 5567322"/>
                <a:gd name="connsiteX3" fmla="*/ 422114 w 600037"/>
                <a:gd name="connsiteY3" fmla="*/ 328167 h 5567322"/>
                <a:gd name="connsiteX4" fmla="*/ 62074 w 600037"/>
                <a:gd name="connsiteY4" fmla="*/ 184151 h 5567322"/>
                <a:gd name="connsiteX5" fmla="*/ 62073 w 600037"/>
                <a:gd name="connsiteY5" fmla="*/ 109761 h 5567322"/>
                <a:gd name="connsiteX6" fmla="*/ 600037 w 600037"/>
                <a:gd name="connsiteY6" fmla="*/ 109761 h 5567322"/>
                <a:gd name="connsiteX7" fmla="*/ 600037 w 600037"/>
                <a:gd name="connsiteY7" fmla="*/ 5078090 h 5567322"/>
                <a:gd name="connsiteX8" fmla="*/ 62073 w 600037"/>
                <a:gd name="connsiteY8" fmla="*/ 5078090 h 5567322"/>
                <a:gd name="connsiteX0" fmla="*/ 62073 w 600037"/>
                <a:gd name="connsiteY0" fmla="*/ 5080695 h 5080695"/>
                <a:gd name="connsiteX1" fmla="*/ 56220 w 600037"/>
                <a:gd name="connsiteY1" fmla="*/ 4782791 h 5080695"/>
                <a:gd name="connsiteX2" fmla="*/ 60982 w 600037"/>
                <a:gd name="connsiteY2" fmla="*/ 373509 h 5080695"/>
                <a:gd name="connsiteX3" fmla="*/ 422114 w 600037"/>
                <a:gd name="connsiteY3" fmla="*/ 328167 h 5080695"/>
                <a:gd name="connsiteX4" fmla="*/ 62074 w 600037"/>
                <a:gd name="connsiteY4" fmla="*/ 184151 h 5080695"/>
                <a:gd name="connsiteX5" fmla="*/ 62073 w 600037"/>
                <a:gd name="connsiteY5" fmla="*/ 109761 h 5080695"/>
                <a:gd name="connsiteX6" fmla="*/ 600037 w 600037"/>
                <a:gd name="connsiteY6" fmla="*/ 109761 h 5080695"/>
                <a:gd name="connsiteX7" fmla="*/ 600037 w 600037"/>
                <a:gd name="connsiteY7" fmla="*/ 5078090 h 5080695"/>
                <a:gd name="connsiteX8" fmla="*/ 62073 w 600037"/>
                <a:gd name="connsiteY8" fmla="*/ 5078090 h 5080695"/>
                <a:gd name="connsiteX0" fmla="*/ 62073 w 600037"/>
                <a:gd name="connsiteY0" fmla="*/ 5080695 h 5080695"/>
                <a:gd name="connsiteX1" fmla="*/ 51458 w 600037"/>
                <a:gd name="connsiteY1" fmla="*/ 4901854 h 5080695"/>
                <a:gd name="connsiteX2" fmla="*/ 56220 w 600037"/>
                <a:gd name="connsiteY2" fmla="*/ 4782791 h 5080695"/>
                <a:gd name="connsiteX3" fmla="*/ 60982 w 600037"/>
                <a:gd name="connsiteY3" fmla="*/ 373509 h 5080695"/>
                <a:gd name="connsiteX4" fmla="*/ 422114 w 600037"/>
                <a:gd name="connsiteY4" fmla="*/ 328167 h 5080695"/>
                <a:gd name="connsiteX5" fmla="*/ 62074 w 600037"/>
                <a:gd name="connsiteY5" fmla="*/ 184151 h 5080695"/>
                <a:gd name="connsiteX6" fmla="*/ 62073 w 600037"/>
                <a:gd name="connsiteY6" fmla="*/ 109761 h 5080695"/>
                <a:gd name="connsiteX7" fmla="*/ 600037 w 600037"/>
                <a:gd name="connsiteY7" fmla="*/ 109761 h 5080695"/>
                <a:gd name="connsiteX8" fmla="*/ 600037 w 600037"/>
                <a:gd name="connsiteY8" fmla="*/ 5078090 h 5080695"/>
                <a:gd name="connsiteX9" fmla="*/ 62073 w 600037"/>
                <a:gd name="connsiteY9" fmla="*/ 5078090 h 5080695"/>
                <a:gd name="connsiteX0" fmla="*/ 62073 w 600037"/>
                <a:gd name="connsiteY0" fmla="*/ 5080695 h 5080695"/>
                <a:gd name="connsiteX1" fmla="*/ 51458 w 600037"/>
                <a:gd name="connsiteY1" fmla="*/ 5020916 h 5080695"/>
                <a:gd name="connsiteX2" fmla="*/ 51458 w 600037"/>
                <a:gd name="connsiteY2" fmla="*/ 4901854 h 5080695"/>
                <a:gd name="connsiteX3" fmla="*/ 56220 w 600037"/>
                <a:gd name="connsiteY3" fmla="*/ 4782791 h 5080695"/>
                <a:gd name="connsiteX4" fmla="*/ 60982 w 600037"/>
                <a:gd name="connsiteY4" fmla="*/ 373509 h 5080695"/>
                <a:gd name="connsiteX5" fmla="*/ 422114 w 600037"/>
                <a:gd name="connsiteY5" fmla="*/ 328167 h 5080695"/>
                <a:gd name="connsiteX6" fmla="*/ 62074 w 600037"/>
                <a:gd name="connsiteY6" fmla="*/ 184151 h 5080695"/>
                <a:gd name="connsiteX7" fmla="*/ 62073 w 600037"/>
                <a:gd name="connsiteY7" fmla="*/ 109761 h 5080695"/>
                <a:gd name="connsiteX8" fmla="*/ 600037 w 600037"/>
                <a:gd name="connsiteY8" fmla="*/ 109761 h 5080695"/>
                <a:gd name="connsiteX9" fmla="*/ 600037 w 600037"/>
                <a:gd name="connsiteY9" fmla="*/ 5078090 h 5080695"/>
                <a:gd name="connsiteX10" fmla="*/ 62073 w 600037"/>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334745"/>
                <a:gd name="connsiteX1" fmla="*/ 421432 w 970011"/>
                <a:gd name="connsiteY1" fmla="*/ 5020916 h 5334745"/>
                <a:gd name="connsiteX2" fmla="*/ 0 w 970011"/>
                <a:gd name="connsiteY2" fmla="*/ 4936679 h 5334745"/>
                <a:gd name="connsiteX3" fmla="*/ 426194 w 970011"/>
                <a:gd name="connsiteY3" fmla="*/ 4782791 h 5334745"/>
                <a:gd name="connsiteX4" fmla="*/ 430956 w 970011"/>
                <a:gd name="connsiteY4" fmla="*/ 373509 h 5334745"/>
                <a:gd name="connsiteX5" fmla="*/ 792088 w 970011"/>
                <a:gd name="connsiteY5" fmla="*/ 328167 h 5334745"/>
                <a:gd name="connsiteX6" fmla="*/ 432048 w 970011"/>
                <a:gd name="connsiteY6" fmla="*/ 184151 h 5334745"/>
                <a:gd name="connsiteX7" fmla="*/ 432047 w 970011"/>
                <a:gd name="connsiteY7" fmla="*/ 109761 h 5334745"/>
                <a:gd name="connsiteX8" fmla="*/ 970011 w 970011"/>
                <a:gd name="connsiteY8" fmla="*/ 109761 h 5334745"/>
                <a:gd name="connsiteX9" fmla="*/ 970011 w 970011"/>
                <a:gd name="connsiteY9" fmla="*/ 5078090 h 5334745"/>
                <a:gd name="connsiteX10" fmla="*/ 432047 w 970011"/>
                <a:gd name="connsiteY10" fmla="*/ 5078090 h 5334745"/>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191722"/>
                <a:gd name="connsiteX1" fmla="*/ 421432 w 970011"/>
                <a:gd name="connsiteY1" fmla="*/ 5020916 h 5191722"/>
                <a:gd name="connsiteX2" fmla="*/ 0 w 970011"/>
                <a:gd name="connsiteY2" fmla="*/ 4864671 h 5191722"/>
                <a:gd name="connsiteX3" fmla="*/ 426194 w 970011"/>
                <a:gd name="connsiteY3" fmla="*/ 4782791 h 5191722"/>
                <a:gd name="connsiteX4" fmla="*/ 430956 w 970011"/>
                <a:gd name="connsiteY4" fmla="*/ 373509 h 5191722"/>
                <a:gd name="connsiteX5" fmla="*/ 792088 w 970011"/>
                <a:gd name="connsiteY5" fmla="*/ 328167 h 5191722"/>
                <a:gd name="connsiteX6" fmla="*/ 432048 w 970011"/>
                <a:gd name="connsiteY6" fmla="*/ 184151 h 5191722"/>
                <a:gd name="connsiteX7" fmla="*/ 432047 w 970011"/>
                <a:gd name="connsiteY7" fmla="*/ 109761 h 5191722"/>
                <a:gd name="connsiteX8" fmla="*/ 970011 w 970011"/>
                <a:gd name="connsiteY8" fmla="*/ 109761 h 5191722"/>
                <a:gd name="connsiteX9" fmla="*/ 970011 w 970011"/>
                <a:gd name="connsiteY9" fmla="*/ 5078090 h 5191722"/>
                <a:gd name="connsiteX10" fmla="*/ 432047 w 970011"/>
                <a:gd name="connsiteY10" fmla="*/ 5078090 h 5191722"/>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16527"/>
                <a:gd name="connsiteX1" fmla="*/ 421432 w 970011"/>
                <a:gd name="connsiteY1" fmla="*/ 5020916 h 5216527"/>
                <a:gd name="connsiteX2" fmla="*/ 0 w 970011"/>
                <a:gd name="connsiteY2" fmla="*/ 4936679 h 5216527"/>
                <a:gd name="connsiteX3" fmla="*/ 426194 w 970011"/>
                <a:gd name="connsiteY3" fmla="*/ 4782791 h 5216527"/>
                <a:gd name="connsiteX4" fmla="*/ 430956 w 970011"/>
                <a:gd name="connsiteY4" fmla="*/ 373509 h 5216527"/>
                <a:gd name="connsiteX5" fmla="*/ 792088 w 970011"/>
                <a:gd name="connsiteY5" fmla="*/ 328167 h 5216527"/>
                <a:gd name="connsiteX6" fmla="*/ 432048 w 970011"/>
                <a:gd name="connsiteY6" fmla="*/ 184151 h 5216527"/>
                <a:gd name="connsiteX7" fmla="*/ 432047 w 970011"/>
                <a:gd name="connsiteY7" fmla="*/ 109761 h 5216527"/>
                <a:gd name="connsiteX8" fmla="*/ 970011 w 970011"/>
                <a:gd name="connsiteY8" fmla="*/ 109761 h 5216527"/>
                <a:gd name="connsiteX9" fmla="*/ 970011 w 970011"/>
                <a:gd name="connsiteY9" fmla="*/ 5078090 h 5216527"/>
                <a:gd name="connsiteX10" fmla="*/ 432047 w 970011"/>
                <a:gd name="connsiteY10" fmla="*/ 5078090 h 5216527"/>
                <a:gd name="connsiteX0" fmla="*/ 360039 w 898003"/>
                <a:gd name="connsiteY0" fmla="*/ 5080695 h 5216528"/>
                <a:gd name="connsiteX1" fmla="*/ 349424 w 898003"/>
                <a:gd name="connsiteY1" fmla="*/ 5020916 h 5216528"/>
                <a:gd name="connsiteX2" fmla="*/ 0 w 898003"/>
                <a:gd name="connsiteY2" fmla="*/ 4936680 h 5216528"/>
                <a:gd name="connsiteX3" fmla="*/ 354186 w 898003"/>
                <a:gd name="connsiteY3" fmla="*/ 4782791 h 5216528"/>
                <a:gd name="connsiteX4" fmla="*/ 358948 w 898003"/>
                <a:gd name="connsiteY4" fmla="*/ 373509 h 5216528"/>
                <a:gd name="connsiteX5" fmla="*/ 720080 w 898003"/>
                <a:gd name="connsiteY5" fmla="*/ 328167 h 5216528"/>
                <a:gd name="connsiteX6" fmla="*/ 360040 w 898003"/>
                <a:gd name="connsiteY6" fmla="*/ 184151 h 5216528"/>
                <a:gd name="connsiteX7" fmla="*/ 360039 w 898003"/>
                <a:gd name="connsiteY7" fmla="*/ 109761 h 5216528"/>
                <a:gd name="connsiteX8" fmla="*/ 898003 w 898003"/>
                <a:gd name="connsiteY8" fmla="*/ 109761 h 5216528"/>
                <a:gd name="connsiteX9" fmla="*/ 898003 w 898003"/>
                <a:gd name="connsiteY9" fmla="*/ 5078090 h 5216528"/>
                <a:gd name="connsiteX10" fmla="*/ 360039 w 898003"/>
                <a:gd name="connsiteY10" fmla="*/ 5078090 h 521652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93568 w 931532"/>
                <a:gd name="connsiteY0" fmla="*/ 5080695 h 5186088"/>
                <a:gd name="connsiteX1" fmla="*/ 382953 w 931532"/>
                <a:gd name="connsiteY1" fmla="*/ 5020916 h 5186088"/>
                <a:gd name="connsiteX2" fmla="*/ 33529 w 931532"/>
                <a:gd name="connsiteY2" fmla="*/ 4936680 h 5186088"/>
                <a:gd name="connsiteX3" fmla="*/ 387715 w 931532"/>
                <a:gd name="connsiteY3" fmla="*/ 4782791 h 5186088"/>
                <a:gd name="connsiteX4" fmla="*/ 392477 w 931532"/>
                <a:gd name="connsiteY4" fmla="*/ 373509 h 5186088"/>
                <a:gd name="connsiteX5" fmla="*/ 753609 w 931532"/>
                <a:gd name="connsiteY5" fmla="*/ 328167 h 5186088"/>
                <a:gd name="connsiteX6" fmla="*/ 393569 w 931532"/>
                <a:gd name="connsiteY6" fmla="*/ 184151 h 5186088"/>
                <a:gd name="connsiteX7" fmla="*/ 393568 w 931532"/>
                <a:gd name="connsiteY7" fmla="*/ 109761 h 5186088"/>
                <a:gd name="connsiteX8" fmla="*/ 931532 w 931532"/>
                <a:gd name="connsiteY8" fmla="*/ 109761 h 5186088"/>
                <a:gd name="connsiteX9" fmla="*/ 931532 w 931532"/>
                <a:gd name="connsiteY9" fmla="*/ 5078090 h 5186088"/>
                <a:gd name="connsiteX10" fmla="*/ 393568 w 931532"/>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7"/>
                <a:gd name="connsiteX1" fmla="*/ 349424 w 898003"/>
                <a:gd name="connsiteY1" fmla="*/ 5020916 h 5186087"/>
                <a:gd name="connsiteX2" fmla="*/ 0 w 898003"/>
                <a:gd name="connsiteY2" fmla="*/ 4936679 h 5186087"/>
                <a:gd name="connsiteX3" fmla="*/ 354186 w 898003"/>
                <a:gd name="connsiteY3" fmla="*/ 4782791 h 5186087"/>
                <a:gd name="connsiteX4" fmla="*/ 358948 w 898003"/>
                <a:gd name="connsiteY4" fmla="*/ 373509 h 5186087"/>
                <a:gd name="connsiteX5" fmla="*/ 720080 w 898003"/>
                <a:gd name="connsiteY5" fmla="*/ 328167 h 5186087"/>
                <a:gd name="connsiteX6" fmla="*/ 360040 w 898003"/>
                <a:gd name="connsiteY6" fmla="*/ 184151 h 5186087"/>
                <a:gd name="connsiteX7" fmla="*/ 360039 w 898003"/>
                <a:gd name="connsiteY7" fmla="*/ 109761 h 5186087"/>
                <a:gd name="connsiteX8" fmla="*/ 898003 w 898003"/>
                <a:gd name="connsiteY8" fmla="*/ 109761 h 5186087"/>
                <a:gd name="connsiteX9" fmla="*/ 898003 w 898003"/>
                <a:gd name="connsiteY9" fmla="*/ 5078090 h 5186087"/>
                <a:gd name="connsiteX10" fmla="*/ 360039 w 898003"/>
                <a:gd name="connsiteY10" fmla="*/ 5078090 h 5186087"/>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9155"/>
                <a:gd name="connsiteX1" fmla="*/ 393701 w 942280"/>
                <a:gd name="connsiteY1" fmla="*/ 5020916 h 5189155"/>
                <a:gd name="connsiteX2" fmla="*/ 0 w 942280"/>
                <a:gd name="connsiteY2" fmla="*/ 4936680 h 5189155"/>
                <a:gd name="connsiteX3" fmla="*/ 398463 w 942280"/>
                <a:gd name="connsiteY3" fmla="*/ 4782791 h 5189155"/>
                <a:gd name="connsiteX4" fmla="*/ 403225 w 942280"/>
                <a:gd name="connsiteY4" fmla="*/ 373509 h 5189155"/>
                <a:gd name="connsiteX5" fmla="*/ 764357 w 942280"/>
                <a:gd name="connsiteY5" fmla="*/ 328167 h 5189155"/>
                <a:gd name="connsiteX6" fmla="*/ 404317 w 942280"/>
                <a:gd name="connsiteY6" fmla="*/ 184151 h 5189155"/>
                <a:gd name="connsiteX7" fmla="*/ 404316 w 942280"/>
                <a:gd name="connsiteY7" fmla="*/ 109761 h 5189155"/>
                <a:gd name="connsiteX8" fmla="*/ 942280 w 942280"/>
                <a:gd name="connsiteY8" fmla="*/ 109761 h 5189155"/>
                <a:gd name="connsiteX9" fmla="*/ 942280 w 942280"/>
                <a:gd name="connsiteY9" fmla="*/ 5078090 h 5189155"/>
                <a:gd name="connsiteX10" fmla="*/ 404316 w 942280"/>
                <a:gd name="connsiteY10" fmla="*/ 5078090 h 5189155"/>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98103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70118"/>
                <a:gd name="connsiteY0" fmla="*/ 5044365 h 5152824"/>
                <a:gd name="connsiteX1" fmla="*/ 505964 w 1070118"/>
                <a:gd name="connsiteY1" fmla="*/ 4984586 h 5152824"/>
                <a:gd name="connsiteX2" fmla="*/ 0 w 1070118"/>
                <a:gd name="connsiteY2" fmla="*/ 4900349 h 5152824"/>
                <a:gd name="connsiteX3" fmla="*/ 510726 w 1070118"/>
                <a:gd name="connsiteY3" fmla="*/ 4746461 h 5152824"/>
                <a:gd name="connsiteX4" fmla="*/ 515488 w 1070118"/>
                <a:gd name="connsiteY4" fmla="*/ 337179 h 5152824"/>
                <a:gd name="connsiteX5" fmla="*/ 898103 w 1070118"/>
                <a:gd name="connsiteY5" fmla="*/ 291837 h 5152824"/>
                <a:gd name="connsiteX6" fmla="*/ 516580 w 1070118"/>
                <a:gd name="connsiteY6" fmla="*/ 147821 h 5152824"/>
                <a:gd name="connsiteX7" fmla="*/ 516579 w 1070118"/>
                <a:gd name="connsiteY7" fmla="*/ 73431 h 5152824"/>
                <a:gd name="connsiteX8" fmla="*/ 1054543 w 1070118"/>
                <a:gd name="connsiteY8" fmla="*/ 73431 h 5152824"/>
                <a:gd name="connsiteX9" fmla="*/ 1054543 w 1070118"/>
                <a:gd name="connsiteY9" fmla="*/ 5041760 h 5152824"/>
                <a:gd name="connsiteX10" fmla="*/ 516579 w 1070118"/>
                <a:gd name="connsiteY10" fmla="*/ 5041760 h 5152824"/>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73810"/>
                <a:gd name="connsiteX1" fmla="*/ 505964 w 1054543"/>
                <a:gd name="connsiteY1" fmla="*/ 4994404 h 5173810"/>
                <a:gd name="connsiteX2" fmla="*/ 0 w 1054543"/>
                <a:gd name="connsiteY2" fmla="*/ 4921335 h 5173810"/>
                <a:gd name="connsiteX3" fmla="*/ 510726 w 1054543"/>
                <a:gd name="connsiteY3" fmla="*/ 4756279 h 5173810"/>
                <a:gd name="connsiteX4" fmla="*/ 515488 w 1054543"/>
                <a:gd name="connsiteY4" fmla="*/ 346997 h 5173810"/>
                <a:gd name="connsiteX5" fmla="*/ 898103 w 1054543"/>
                <a:gd name="connsiteY5" fmla="*/ 301655 h 5173810"/>
                <a:gd name="connsiteX6" fmla="*/ 516580 w 1054543"/>
                <a:gd name="connsiteY6" fmla="*/ 157639 h 5173810"/>
                <a:gd name="connsiteX7" fmla="*/ 516579 w 1054543"/>
                <a:gd name="connsiteY7" fmla="*/ 83249 h 5173810"/>
                <a:gd name="connsiteX8" fmla="*/ 1054543 w 1054543"/>
                <a:gd name="connsiteY8" fmla="*/ 83249 h 5173810"/>
                <a:gd name="connsiteX9" fmla="*/ 1054543 w 1054543"/>
                <a:gd name="connsiteY9" fmla="*/ 5051578 h 5173810"/>
                <a:gd name="connsiteX10" fmla="*/ 516579 w 1054543"/>
                <a:gd name="connsiteY10" fmla="*/ 5051578 h 5173810"/>
                <a:gd name="connsiteX0" fmla="*/ 516579 w 1054543"/>
                <a:gd name="connsiteY0" fmla="*/ 5054183 h 5187254"/>
                <a:gd name="connsiteX1" fmla="*/ 505964 w 1054543"/>
                <a:gd name="connsiteY1" fmla="*/ 4994404 h 5187254"/>
                <a:gd name="connsiteX2" fmla="*/ 0 w 1054543"/>
                <a:gd name="connsiteY2" fmla="*/ 4921335 h 5187254"/>
                <a:gd name="connsiteX3" fmla="*/ 510726 w 1054543"/>
                <a:gd name="connsiteY3" fmla="*/ 4756279 h 5187254"/>
                <a:gd name="connsiteX4" fmla="*/ 515488 w 1054543"/>
                <a:gd name="connsiteY4" fmla="*/ 346997 h 5187254"/>
                <a:gd name="connsiteX5" fmla="*/ 898103 w 1054543"/>
                <a:gd name="connsiteY5" fmla="*/ 301655 h 5187254"/>
                <a:gd name="connsiteX6" fmla="*/ 516580 w 1054543"/>
                <a:gd name="connsiteY6" fmla="*/ 157639 h 5187254"/>
                <a:gd name="connsiteX7" fmla="*/ 516579 w 1054543"/>
                <a:gd name="connsiteY7" fmla="*/ 83249 h 5187254"/>
                <a:gd name="connsiteX8" fmla="*/ 1054543 w 1054543"/>
                <a:gd name="connsiteY8" fmla="*/ 83249 h 5187254"/>
                <a:gd name="connsiteX9" fmla="*/ 1054543 w 1054543"/>
                <a:gd name="connsiteY9" fmla="*/ 5051578 h 5187254"/>
                <a:gd name="connsiteX10" fmla="*/ 516579 w 1054543"/>
                <a:gd name="connsiteY10" fmla="*/ 5051578 h 5187254"/>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214143"/>
                <a:gd name="connsiteX1" fmla="*/ 505964 w 1054543"/>
                <a:gd name="connsiteY1" fmla="*/ 4994404 h 5214143"/>
                <a:gd name="connsiteX2" fmla="*/ 0 w 1054543"/>
                <a:gd name="connsiteY2" fmla="*/ 4921335 h 5214143"/>
                <a:gd name="connsiteX3" fmla="*/ 510726 w 1054543"/>
                <a:gd name="connsiteY3" fmla="*/ 4756279 h 5214143"/>
                <a:gd name="connsiteX4" fmla="*/ 515488 w 1054543"/>
                <a:gd name="connsiteY4" fmla="*/ 346997 h 5214143"/>
                <a:gd name="connsiteX5" fmla="*/ 898103 w 1054543"/>
                <a:gd name="connsiteY5" fmla="*/ 301655 h 5214143"/>
                <a:gd name="connsiteX6" fmla="*/ 516580 w 1054543"/>
                <a:gd name="connsiteY6" fmla="*/ 157639 h 5214143"/>
                <a:gd name="connsiteX7" fmla="*/ 516579 w 1054543"/>
                <a:gd name="connsiteY7" fmla="*/ 83249 h 5214143"/>
                <a:gd name="connsiteX8" fmla="*/ 1054543 w 1054543"/>
                <a:gd name="connsiteY8" fmla="*/ 83249 h 5214143"/>
                <a:gd name="connsiteX9" fmla="*/ 1054543 w 1054543"/>
                <a:gd name="connsiteY9" fmla="*/ 5051578 h 5214143"/>
                <a:gd name="connsiteX10" fmla="*/ 516579 w 1054543"/>
                <a:gd name="connsiteY10" fmla="*/ 5051578 h 521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4543" h="5214143">
                  <a:moveTo>
                    <a:pt x="516579" y="5054183"/>
                  </a:moveTo>
                  <a:lnTo>
                    <a:pt x="505964" y="4994404"/>
                  </a:lnTo>
                  <a:cubicBezTo>
                    <a:pt x="365487" y="4966325"/>
                    <a:pt x="215647" y="5214143"/>
                    <a:pt x="0" y="4921335"/>
                  </a:cubicBezTo>
                  <a:cubicBezTo>
                    <a:pt x="102379" y="4573244"/>
                    <a:pt x="368661" y="4807575"/>
                    <a:pt x="510726" y="4756279"/>
                  </a:cubicBezTo>
                  <a:cubicBezTo>
                    <a:pt x="510544" y="3971748"/>
                    <a:pt x="454506" y="1089434"/>
                    <a:pt x="515488" y="346997"/>
                  </a:cubicBezTo>
                  <a:cubicBezTo>
                    <a:pt x="645783" y="336296"/>
                    <a:pt x="811401" y="489209"/>
                    <a:pt x="898103" y="301655"/>
                  </a:cubicBezTo>
                  <a:cubicBezTo>
                    <a:pt x="910891" y="0"/>
                    <a:pt x="637075" y="181302"/>
                    <a:pt x="516580" y="157639"/>
                  </a:cubicBezTo>
                  <a:cubicBezTo>
                    <a:pt x="516943" y="142748"/>
                    <a:pt x="516216" y="98140"/>
                    <a:pt x="516579" y="83249"/>
                  </a:cubicBezTo>
                  <a:lnTo>
                    <a:pt x="1054543" y="83249"/>
                  </a:lnTo>
                  <a:lnTo>
                    <a:pt x="1054543" y="5051578"/>
                  </a:lnTo>
                  <a:lnTo>
                    <a:pt x="516579" y="5051578"/>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t"/>
            <a:lstStyle/>
            <a:p>
              <a:pPr algn="ctr"/>
              <a:r>
                <a:rPr lang="en-US" sz="900" b="1" dirty="0" smtClean="0"/>
                <a:t>Results of analysis</a:t>
              </a:r>
              <a:endParaRPr lang="en-US" sz="900" b="1" dirty="0"/>
            </a:p>
          </p:txBody>
        </p:sp>
        <p:sp>
          <p:nvSpPr>
            <p:cNvPr id="79" name="Rechteck 75"/>
            <p:cNvSpPr/>
            <p:nvPr/>
          </p:nvSpPr>
          <p:spPr>
            <a:xfrm>
              <a:off x="992560" y="1101645"/>
              <a:ext cx="7200800" cy="561063"/>
            </a:xfrm>
            <a:custGeom>
              <a:avLst/>
              <a:gdLst>
                <a:gd name="connsiteX0" fmla="*/ 0 w 6552728"/>
                <a:gd name="connsiteY0" fmla="*/ 0 h 360546"/>
                <a:gd name="connsiteX1" fmla="*/ 6552728 w 6552728"/>
                <a:gd name="connsiteY1" fmla="*/ 0 h 360546"/>
                <a:gd name="connsiteX2" fmla="*/ 6552728 w 6552728"/>
                <a:gd name="connsiteY2" fmla="*/ 360546 h 360546"/>
                <a:gd name="connsiteX3" fmla="*/ 0 w 6552728"/>
                <a:gd name="connsiteY3" fmla="*/ 360546 h 360546"/>
                <a:gd name="connsiteX4" fmla="*/ 0 w 6552728"/>
                <a:gd name="connsiteY4" fmla="*/ 0 h 360546"/>
                <a:gd name="connsiteX0" fmla="*/ 4615 w 6557343"/>
                <a:gd name="connsiteY0" fmla="*/ 0 h 360546"/>
                <a:gd name="connsiteX1" fmla="*/ 6557343 w 6557343"/>
                <a:gd name="connsiteY1" fmla="*/ 0 h 360546"/>
                <a:gd name="connsiteX2" fmla="*/ 6557343 w 6557343"/>
                <a:gd name="connsiteY2" fmla="*/ 360546 h 360546"/>
                <a:gd name="connsiteX3" fmla="*/ 4615 w 6557343"/>
                <a:gd name="connsiteY3" fmla="*/ 360546 h 360546"/>
                <a:gd name="connsiteX4" fmla="*/ 0 w 6557343"/>
                <a:gd name="connsiteY4" fmla="*/ 168498 h 360546"/>
                <a:gd name="connsiteX5" fmla="*/ 4615 w 6557343"/>
                <a:gd name="connsiteY5" fmla="*/ 0 h 360546"/>
                <a:gd name="connsiteX0" fmla="*/ 4615 w 6557343"/>
                <a:gd name="connsiteY0" fmla="*/ 0 h 360546"/>
                <a:gd name="connsiteX1" fmla="*/ 6557343 w 6557343"/>
                <a:gd name="connsiteY1" fmla="*/ 0 h 360546"/>
                <a:gd name="connsiteX2" fmla="*/ 6557343 w 6557343"/>
                <a:gd name="connsiteY2" fmla="*/ 360546 h 360546"/>
                <a:gd name="connsiteX3" fmla="*/ 4615 w 6557343"/>
                <a:gd name="connsiteY3" fmla="*/ 360546 h 360546"/>
                <a:gd name="connsiteX4" fmla="*/ 0 w 6557343"/>
                <a:gd name="connsiteY4" fmla="*/ 168498 h 360546"/>
                <a:gd name="connsiteX5" fmla="*/ 1 w 6557343"/>
                <a:gd name="connsiteY5" fmla="*/ 54198 h 360546"/>
                <a:gd name="connsiteX6" fmla="*/ 4615 w 6557343"/>
                <a:gd name="connsiteY6"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4614 w 6557342"/>
                <a:gd name="connsiteY4" fmla="*/ 216024 h 360546"/>
                <a:gd name="connsiteX5" fmla="*/ 0 w 6557342"/>
                <a:gd name="connsiteY5" fmla="*/ 54198 h 360546"/>
                <a:gd name="connsiteX6" fmla="*/ 4614 w 6557342"/>
                <a:gd name="connsiteY6"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3174 w 6557342"/>
                <a:gd name="connsiteY4" fmla="*/ 260573 h 360546"/>
                <a:gd name="connsiteX5" fmla="*/ 4614 w 6557342"/>
                <a:gd name="connsiteY5" fmla="*/ 216024 h 360546"/>
                <a:gd name="connsiteX6" fmla="*/ 0 w 6557342"/>
                <a:gd name="connsiteY6" fmla="*/ 54198 h 360546"/>
                <a:gd name="connsiteX7" fmla="*/ 4614 w 6557342"/>
                <a:gd name="connsiteY7"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3174 w 6557342"/>
                <a:gd name="connsiteY4" fmla="*/ 260573 h 360546"/>
                <a:gd name="connsiteX5" fmla="*/ 220637 w 6557342"/>
                <a:gd name="connsiteY5" fmla="*/ 216024 h 360546"/>
                <a:gd name="connsiteX6" fmla="*/ 0 w 6557342"/>
                <a:gd name="connsiteY6" fmla="*/ 54198 h 360546"/>
                <a:gd name="connsiteX7" fmla="*/ 4614 w 6557342"/>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216024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 w 6552729"/>
                <a:gd name="connsiteY0" fmla="*/ 0 h 429699"/>
                <a:gd name="connsiteX1" fmla="*/ 6552729 w 6552729"/>
                <a:gd name="connsiteY1" fmla="*/ 0 h 429699"/>
                <a:gd name="connsiteX2" fmla="*/ 6552729 w 6552729"/>
                <a:gd name="connsiteY2" fmla="*/ 360546 h 429699"/>
                <a:gd name="connsiteX3" fmla="*/ 1 w 6552729"/>
                <a:gd name="connsiteY3" fmla="*/ 360546 h 429699"/>
                <a:gd name="connsiteX4" fmla="*/ 0 w 6552729"/>
                <a:gd name="connsiteY4" fmla="*/ 288032 h 429699"/>
                <a:gd name="connsiteX5" fmla="*/ 216024 w 6552729"/>
                <a:gd name="connsiteY5" fmla="*/ 216024 h 429699"/>
                <a:gd name="connsiteX6" fmla="*/ 0 w 6552729"/>
                <a:gd name="connsiteY6" fmla="*/ 72008 h 429699"/>
                <a:gd name="connsiteX7" fmla="*/ 1 w 6552729"/>
                <a:gd name="connsiteY7" fmla="*/ 0 h 429699"/>
                <a:gd name="connsiteX0" fmla="*/ 1 w 6552729"/>
                <a:gd name="connsiteY0" fmla="*/ 0 h 429699"/>
                <a:gd name="connsiteX1" fmla="*/ 6552729 w 6552729"/>
                <a:gd name="connsiteY1" fmla="*/ 0 h 429699"/>
                <a:gd name="connsiteX2" fmla="*/ 6552729 w 6552729"/>
                <a:gd name="connsiteY2" fmla="*/ 360546 h 429699"/>
                <a:gd name="connsiteX3" fmla="*/ 1 w 6552729"/>
                <a:gd name="connsiteY3" fmla="*/ 360546 h 429699"/>
                <a:gd name="connsiteX4" fmla="*/ 0 w 6552729"/>
                <a:gd name="connsiteY4" fmla="*/ 288032 h 429699"/>
                <a:gd name="connsiteX5" fmla="*/ 216024 w 6552729"/>
                <a:gd name="connsiteY5" fmla="*/ 216024 h 429699"/>
                <a:gd name="connsiteX6" fmla="*/ 0 w 6552729"/>
                <a:gd name="connsiteY6" fmla="*/ 72008 h 429699"/>
                <a:gd name="connsiteX7" fmla="*/ 1 w 6552729"/>
                <a:gd name="connsiteY7" fmla="*/ 0 h 429699"/>
                <a:gd name="connsiteX0" fmla="*/ 1 w 6552729"/>
                <a:gd name="connsiteY0" fmla="*/ 0 h 360546"/>
                <a:gd name="connsiteX1" fmla="*/ 6552729 w 6552729"/>
                <a:gd name="connsiteY1" fmla="*/ 0 h 360546"/>
                <a:gd name="connsiteX2" fmla="*/ 6552729 w 6552729"/>
                <a:gd name="connsiteY2" fmla="*/ 360546 h 360546"/>
                <a:gd name="connsiteX3" fmla="*/ 1 w 6552729"/>
                <a:gd name="connsiteY3" fmla="*/ 360546 h 360546"/>
                <a:gd name="connsiteX4" fmla="*/ 0 w 6552729"/>
                <a:gd name="connsiteY4" fmla="*/ 288032 h 360546"/>
                <a:gd name="connsiteX5" fmla="*/ 216024 w 6552729"/>
                <a:gd name="connsiteY5" fmla="*/ 216024 h 360546"/>
                <a:gd name="connsiteX6" fmla="*/ 0 w 6552729"/>
                <a:gd name="connsiteY6" fmla="*/ 72008 h 360546"/>
                <a:gd name="connsiteX7" fmla="*/ 1 w 6552729"/>
                <a:gd name="connsiteY7" fmla="*/ 0 h 360546"/>
                <a:gd name="connsiteX0" fmla="*/ 6516 w 6559244"/>
                <a:gd name="connsiteY0" fmla="*/ 0 h 360546"/>
                <a:gd name="connsiteX1" fmla="*/ 6559244 w 6559244"/>
                <a:gd name="connsiteY1" fmla="*/ 0 h 360546"/>
                <a:gd name="connsiteX2" fmla="*/ 6559244 w 6559244"/>
                <a:gd name="connsiteY2" fmla="*/ 360546 h 360546"/>
                <a:gd name="connsiteX3" fmla="*/ 6516 w 6559244"/>
                <a:gd name="connsiteY3" fmla="*/ 360546 h 360546"/>
                <a:gd name="connsiteX4" fmla="*/ 6515 w 6559244"/>
                <a:gd name="connsiteY4" fmla="*/ 288032 h 360546"/>
                <a:gd name="connsiteX5" fmla="*/ 222539 w 6559244"/>
                <a:gd name="connsiteY5" fmla="*/ 216024 h 360546"/>
                <a:gd name="connsiteX6" fmla="*/ 6515 w 6559244"/>
                <a:gd name="connsiteY6" fmla="*/ 72008 h 360546"/>
                <a:gd name="connsiteX7" fmla="*/ 6516 w 6559244"/>
                <a:gd name="connsiteY7" fmla="*/ 0 h 360546"/>
                <a:gd name="connsiteX0" fmla="*/ 6516 w 6559244"/>
                <a:gd name="connsiteY0" fmla="*/ 0 h 360546"/>
                <a:gd name="connsiteX1" fmla="*/ 6559244 w 6559244"/>
                <a:gd name="connsiteY1" fmla="*/ 0 h 360546"/>
                <a:gd name="connsiteX2" fmla="*/ 6559244 w 6559244"/>
                <a:gd name="connsiteY2" fmla="*/ 360546 h 360546"/>
                <a:gd name="connsiteX3" fmla="*/ 6516 w 6559244"/>
                <a:gd name="connsiteY3" fmla="*/ 360546 h 360546"/>
                <a:gd name="connsiteX4" fmla="*/ 6515 w 6559244"/>
                <a:gd name="connsiteY4" fmla="*/ 288032 h 360546"/>
                <a:gd name="connsiteX5" fmla="*/ 222539 w 6559244"/>
                <a:gd name="connsiteY5" fmla="*/ 216024 h 360546"/>
                <a:gd name="connsiteX6" fmla="*/ 6515 w 6559244"/>
                <a:gd name="connsiteY6" fmla="*/ 72008 h 360546"/>
                <a:gd name="connsiteX7" fmla="*/ 6516 w 6559244"/>
                <a:gd name="connsiteY7" fmla="*/ 0 h 360546"/>
                <a:gd name="connsiteX0" fmla="*/ 6516 w 6559244"/>
                <a:gd name="connsiteY0" fmla="*/ 57174 h 417720"/>
                <a:gd name="connsiteX1" fmla="*/ 6559244 w 6559244"/>
                <a:gd name="connsiteY1" fmla="*/ 57174 h 417720"/>
                <a:gd name="connsiteX2" fmla="*/ 6559244 w 6559244"/>
                <a:gd name="connsiteY2" fmla="*/ 417720 h 417720"/>
                <a:gd name="connsiteX3" fmla="*/ 6516 w 6559244"/>
                <a:gd name="connsiteY3" fmla="*/ 417720 h 417720"/>
                <a:gd name="connsiteX4" fmla="*/ 6515 w 6559244"/>
                <a:gd name="connsiteY4" fmla="*/ 345206 h 417720"/>
                <a:gd name="connsiteX5" fmla="*/ 222539 w 6559244"/>
                <a:gd name="connsiteY5" fmla="*/ 201190 h 417720"/>
                <a:gd name="connsiteX6" fmla="*/ 6515 w 6559244"/>
                <a:gd name="connsiteY6" fmla="*/ 129182 h 417720"/>
                <a:gd name="connsiteX7" fmla="*/ 6516 w 6559244"/>
                <a:gd name="connsiteY7" fmla="*/ 57174 h 417720"/>
                <a:gd name="connsiteX0" fmla="*/ 6516 w 6559244"/>
                <a:gd name="connsiteY0" fmla="*/ 57174 h 446913"/>
                <a:gd name="connsiteX1" fmla="*/ 6559244 w 6559244"/>
                <a:gd name="connsiteY1" fmla="*/ 57174 h 446913"/>
                <a:gd name="connsiteX2" fmla="*/ 6559244 w 6559244"/>
                <a:gd name="connsiteY2" fmla="*/ 417720 h 446913"/>
                <a:gd name="connsiteX3" fmla="*/ 6516 w 6559244"/>
                <a:gd name="connsiteY3" fmla="*/ 417720 h 446913"/>
                <a:gd name="connsiteX4" fmla="*/ 6515 w 6559244"/>
                <a:gd name="connsiteY4" fmla="*/ 345206 h 446913"/>
                <a:gd name="connsiteX5" fmla="*/ 222539 w 6559244"/>
                <a:gd name="connsiteY5" fmla="*/ 201190 h 446913"/>
                <a:gd name="connsiteX6" fmla="*/ 6515 w 6559244"/>
                <a:gd name="connsiteY6" fmla="*/ 129182 h 446913"/>
                <a:gd name="connsiteX7" fmla="*/ 6516 w 6559244"/>
                <a:gd name="connsiteY7" fmla="*/ 57174 h 446913"/>
                <a:gd name="connsiteX0" fmla="*/ 6516 w 6559244"/>
                <a:gd name="connsiteY0" fmla="*/ 19868 h 409607"/>
                <a:gd name="connsiteX1" fmla="*/ 6559244 w 6559244"/>
                <a:gd name="connsiteY1" fmla="*/ 19868 h 409607"/>
                <a:gd name="connsiteX2" fmla="*/ 6559244 w 6559244"/>
                <a:gd name="connsiteY2" fmla="*/ 380414 h 409607"/>
                <a:gd name="connsiteX3" fmla="*/ 6516 w 6559244"/>
                <a:gd name="connsiteY3" fmla="*/ 380414 h 409607"/>
                <a:gd name="connsiteX4" fmla="*/ 6515 w 6559244"/>
                <a:gd name="connsiteY4" fmla="*/ 307900 h 409607"/>
                <a:gd name="connsiteX5" fmla="*/ 222539 w 6559244"/>
                <a:gd name="connsiteY5" fmla="*/ 163884 h 409607"/>
                <a:gd name="connsiteX6" fmla="*/ 6515 w 6559244"/>
                <a:gd name="connsiteY6" fmla="*/ 91876 h 409607"/>
                <a:gd name="connsiteX7" fmla="*/ 6516 w 6559244"/>
                <a:gd name="connsiteY7" fmla="*/ 19868 h 409607"/>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6 h 438728"/>
                <a:gd name="connsiteX7" fmla="*/ 6516 w 6559244"/>
                <a:gd name="connsiteY7" fmla="*/ 19868 h 438728"/>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5 h 438728"/>
                <a:gd name="connsiteX7" fmla="*/ 6516 w 6559244"/>
                <a:gd name="connsiteY7" fmla="*/ 19868 h 438728"/>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5 h 438728"/>
                <a:gd name="connsiteX7" fmla="*/ 6516 w 6559244"/>
                <a:gd name="connsiteY7" fmla="*/ 19868 h 438728"/>
                <a:gd name="connsiteX0" fmla="*/ 6516 w 6559244"/>
                <a:gd name="connsiteY0" fmla="*/ 54570 h 473430"/>
                <a:gd name="connsiteX1" fmla="*/ 6559244 w 6559244"/>
                <a:gd name="connsiteY1" fmla="*/ 54570 h 473430"/>
                <a:gd name="connsiteX2" fmla="*/ 6559244 w 6559244"/>
                <a:gd name="connsiteY2" fmla="*/ 415116 h 473430"/>
                <a:gd name="connsiteX3" fmla="*/ 6516 w 6559244"/>
                <a:gd name="connsiteY3" fmla="*/ 415116 h 473430"/>
                <a:gd name="connsiteX4" fmla="*/ 6515 w 6559244"/>
                <a:gd name="connsiteY4" fmla="*/ 342602 h 473430"/>
                <a:gd name="connsiteX5" fmla="*/ 222539 w 6559244"/>
                <a:gd name="connsiteY5" fmla="*/ 198586 h 473430"/>
                <a:gd name="connsiteX6" fmla="*/ 6515 w 6559244"/>
                <a:gd name="connsiteY6" fmla="*/ 126577 h 473430"/>
                <a:gd name="connsiteX7" fmla="*/ 6516 w 6559244"/>
                <a:gd name="connsiteY7" fmla="*/ 54570 h 473430"/>
                <a:gd name="connsiteX0" fmla="*/ 6516 w 6559244"/>
                <a:gd name="connsiteY0" fmla="*/ 54570 h 468643"/>
                <a:gd name="connsiteX1" fmla="*/ 6559244 w 6559244"/>
                <a:gd name="connsiteY1" fmla="*/ 54570 h 468643"/>
                <a:gd name="connsiteX2" fmla="*/ 6559244 w 6559244"/>
                <a:gd name="connsiteY2" fmla="*/ 415116 h 468643"/>
                <a:gd name="connsiteX3" fmla="*/ 6516 w 6559244"/>
                <a:gd name="connsiteY3" fmla="*/ 415116 h 468643"/>
                <a:gd name="connsiteX4" fmla="*/ 6515 w 6559244"/>
                <a:gd name="connsiteY4" fmla="*/ 342602 h 468643"/>
                <a:gd name="connsiteX5" fmla="*/ 222539 w 6559244"/>
                <a:gd name="connsiteY5" fmla="*/ 198586 h 468643"/>
                <a:gd name="connsiteX6" fmla="*/ 6515 w 6559244"/>
                <a:gd name="connsiteY6" fmla="*/ 126577 h 468643"/>
                <a:gd name="connsiteX7" fmla="*/ 6516 w 6559244"/>
                <a:gd name="connsiteY7" fmla="*/ 54570 h 468643"/>
                <a:gd name="connsiteX0" fmla="*/ 6516 w 6559244"/>
                <a:gd name="connsiteY0" fmla="*/ 54570 h 461474"/>
                <a:gd name="connsiteX1" fmla="*/ 6559244 w 6559244"/>
                <a:gd name="connsiteY1" fmla="*/ 54570 h 461474"/>
                <a:gd name="connsiteX2" fmla="*/ 6559244 w 6559244"/>
                <a:gd name="connsiteY2" fmla="*/ 415116 h 461474"/>
                <a:gd name="connsiteX3" fmla="*/ 6516 w 6559244"/>
                <a:gd name="connsiteY3" fmla="*/ 415116 h 461474"/>
                <a:gd name="connsiteX4" fmla="*/ 6515 w 6559244"/>
                <a:gd name="connsiteY4" fmla="*/ 342602 h 461474"/>
                <a:gd name="connsiteX5" fmla="*/ 222539 w 6559244"/>
                <a:gd name="connsiteY5" fmla="*/ 198586 h 461474"/>
                <a:gd name="connsiteX6" fmla="*/ 6515 w 6559244"/>
                <a:gd name="connsiteY6" fmla="*/ 126577 h 461474"/>
                <a:gd name="connsiteX7" fmla="*/ 6516 w 6559244"/>
                <a:gd name="connsiteY7" fmla="*/ 54570 h 46147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72007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33722 h 440626"/>
                <a:gd name="connsiteX1" fmla="*/ 6559244 w 6559244"/>
                <a:gd name="connsiteY1" fmla="*/ 33722 h 440626"/>
                <a:gd name="connsiteX2" fmla="*/ 6559244 w 6559244"/>
                <a:gd name="connsiteY2" fmla="*/ 394268 h 440626"/>
                <a:gd name="connsiteX3" fmla="*/ 6516 w 6559244"/>
                <a:gd name="connsiteY3" fmla="*/ 394268 h 440626"/>
                <a:gd name="connsiteX4" fmla="*/ 6515 w 6559244"/>
                <a:gd name="connsiteY4" fmla="*/ 321754 h 440626"/>
                <a:gd name="connsiteX5" fmla="*/ 294547 w 6559244"/>
                <a:gd name="connsiteY5" fmla="*/ 177738 h 440626"/>
                <a:gd name="connsiteX6" fmla="*/ 150531 w 6559244"/>
                <a:gd name="connsiteY6" fmla="*/ 105730 h 440626"/>
                <a:gd name="connsiteX7" fmla="*/ 6515 w 6559244"/>
                <a:gd name="connsiteY7" fmla="*/ 177738 h 440626"/>
                <a:gd name="connsiteX8" fmla="*/ 6516 w 6559244"/>
                <a:gd name="connsiteY8" fmla="*/ 33722 h 440626"/>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100550 h 507454"/>
                <a:gd name="connsiteX1" fmla="*/ 6559244 w 6559244"/>
                <a:gd name="connsiteY1" fmla="*/ 100550 h 507454"/>
                <a:gd name="connsiteX2" fmla="*/ 6559244 w 6559244"/>
                <a:gd name="connsiteY2" fmla="*/ 461096 h 507454"/>
                <a:gd name="connsiteX3" fmla="*/ 6516 w 6559244"/>
                <a:gd name="connsiteY3" fmla="*/ 461096 h 507454"/>
                <a:gd name="connsiteX4" fmla="*/ 6515 w 6559244"/>
                <a:gd name="connsiteY4" fmla="*/ 388582 h 507454"/>
                <a:gd name="connsiteX5" fmla="*/ 294547 w 6559244"/>
                <a:gd name="connsiteY5" fmla="*/ 244566 h 507454"/>
                <a:gd name="connsiteX6" fmla="*/ 6515 w 6559244"/>
                <a:gd name="connsiteY6" fmla="*/ 244566 h 507454"/>
                <a:gd name="connsiteX7" fmla="*/ 6516 w 6559244"/>
                <a:gd name="connsiteY7" fmla="*/ 100550 h 507454"/>
                <a:gd name="connsiteX0" fmla="*/ 6516 w 6559244"/>
                <a:gd name="connsiteY0" fmla="*/ 100550 h 612204"/>
                <a:gd name="connsiteX1" fmla="*/ 6559244 w 6559244"/>
                <a:gd name="connsiteY1" fmla="*/ 100550 h 612204"/>
                <a:gd name="connsiteX2" fmla="*/ 6559244 w 6559244"/>
                <a:gd name="connsiteY2" fmla="*/ 461096 h 612204"/>
                <a:gd name="connsiteX3" fmla="*/ 6516 w 6559244"/>
                <a:gd name="connsiteY3" fmla="*/ 461096 h 612204"/>
                <a:gd name="connsiteX4" fmla="*/ 6515 w 6559244"/>
                <a:gd name="connsiteY4" fmla="*/ 388582 h 612204"/>
                <a:gd name="connsiteX5" fmla="*/ 294547 w 6559244"/>
                <a:gd name="connsiteY5" fmla="*/ 244566 h 612204"/>
                <a:gd name="connsiteX6" fmla="*/ 6515 w 6559244"/>
                <a:gd name="connsiteY6" fmla="*/ 244566 h 612204"/>
                <a:gd name="connsiteX7" fmla="*/ 6516 w 6559244"/>
                <a:gd name="connsiteY7" fmla="*/ 100550 h 612204"/>
                <a:gd name="connsiteX0" fmla="*/ 6516 w 6559244"/>
                <a:gd name="connsiteY0" fmla="*/ 100550 h 612204"/>
                <a:gd name="connsiteX1" fmla="*/ 6559244 w 6559244"/>
                <a:gd name="connsiteY1" fmla="*/ 100550 h 612204"/>
                <a:gd name="connsiteX2" fmla="*/ 6559244 w 6559244"/>
                <a:gd name="connsiteY2" fmla="*/ 461096 h 612204"/>
                <a:gd name="connsiteX3" fmla="*/ 6516 w 6559244"/>
                <a:gd name="connsiteY3" fmla="*/ 461096 h 612204"/>
                <a:gd name="connsiteX4" fmla="*/ 6515 w 6559244"/>
                <a:gd name="connsiteY4" fmla="*/ 388582 h 612204"/>
                <a:gd name="connsiteX5" fmla="*/ 366555 w 6559244"/>
                <a:gd name="connsiteY5" fmla="*/ 244566 h 612204"/>
                <a:gd name="connsiteX6" fmla="*/ 6515 w 6559244"/>
                <a:gd name="connsiteY6" fmla="*/ 244566 h 612204"/>
                <a:gd name="connsiteX7" fmla="*/ 6516 w 6559244"/>
                <a:gd name="connsiteY7" fmla="*/ 100550 h 612204"/>
                <a:gd name="connsiteX0" fmla="*/ 6516 w 6559244"/>
                <a:gd name="connsiteY0" fmla="*/ 189450 h 701104"/>
                <a:gd name="connsiteX1" fmla="*/ 6559244 w 6559244"/>
                <a:gd name="connsiteY1" fmla="*/ 189450 h 701104"/>
                <a:gd name="connsiteX2" fmla="*/ 6559244 w 6559244"/>
                <a:gd name="connsiteY2" fmla="*/ 549996 h 701104"/>
                <a:gd name="connsiteX3" fmla="*/ 6516 w 6559244"/>
                <a:gd name="connsiteY3" fmla="*/ 549996 h 701104"/>
                <a:gd name="connsiteX4" fmla="*/ 6515 w 6559244"/>
                <a:gd name="connsiteY4" fmla="*/ 477482 h 701104"/>
                <a:gd name="connsiteX5" fmla="*/ 366555 w 6559244"/>
                <a:gd name="connsiteY5" fmla="*/ 333466 h 701104"/>
                <a:gd name="connsiteX6" fmla="*/ 6515 w 6559244"/>
                <a:gd name="connsiteY6" fmla="*/ 333466 h 701104"/>
                <a:gd name="connsiteX7" fmla="*/ 6516 w 6559244"/>
                <a:gd name="connsiteY7" fmla="*/ 189450 h 701104"/>
                <a:gd name="connsiteX0" fmla="*/ 6516 w 6559244"/>
                <a:gd name="connsiteY0" fmla="*/ 100997 h 612651"/>
                <a:gd name="connsiteX1" fmla="*/ 6559244 w 6559244"/>
                <a:gd name="connsiteY1" fmla="*/ 100997 h 612651"/>
                <a:gd name="connsiteX2" fmla="*/ 6559244 w 6559244"/>
                <a:gd name="connsiteY2" fmla="*/ 461543 h 612651"/>
                <a:gd name="connsiteX3" fmla="*/ 6516 w 6559244"/>
                <a:gd name="connsiteY3" fmla="*/ 461543 h 612651"/>
                <a:gd name="connsiteX4" fmla="*/ 6515 w 6559244"/>
                <a:gd name="connsiteY4" fmla="*/ 389029 h 612651"/>
                <a:gd name="connsiteX5" fmla="*/ 366555 w 6559244"/>
                <a:gd name="connsiteY5" fmla="*/ 245013 h 612651"/>
                <a:gd name="connsiteX6" fmla="*/ 6515 w 6559244"/>
                <a:gd name="connsiteY6" fmla="*/ 245013 h 612651"/>
                <a:gd name="connsiteX7" fmla="*/ 6516 w 6559244"/>
                <a:gd name="connsiteY7" fmla="*/ 100997 h 612651"/>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173005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294547 w 6559244"/>
                <a:gd name="connsiteY5" fmla="*/ 245013 h 578718"/>
                <a:gd name="connsiteX6" fmla="*/ 6515 w 6559244"/>
                <a:gd name="connsiteY6" fmla="*/ 173005 h 578718"/>
                <a:gd name="connsiteX7" fmla="*/ 6516 w 6559244"/>
                <a:gd name="connsiteY7" fmla="*/ 100997 h 578718"/>
                <a:gd name="connsiteX0" fmla="*/ 6516 w 6559244"/>
                <a:gd name="connsiteY0" fmla="*/ 132747 h 610468"/>
                <a:gd name="connsiteX1" fmla="*/ 6559244 w 6559244"/>
                <a:gd name="connsiteY1" fmla="*/ 132747 h 610468"/>
                <a:gd name="connsiteX2" fmla="*/ 6559244 w 6559244"/>
                <a:gd name="connsiteY2" fmla="*/ 493293 h 610468"/>
                <a:gd name="connsiteX3" fmla="*/ 6516 w 6559244"/>
                <a:gd name="connsiteY3" fmla="*/ 493293 h 610468"/>
                <a:gd name="connsiteX4" fmla="*/ 6515 w 6559244"/>
                <a:gd name="connsiteY4" fmla="*/ 420779 h 610468"/>
                <a:gd name="connsiteX5" fmla="*/ 294547 w 6559244"/>
                <a:gd name="connsiteY5" fmla="*/ 276763 h 610468"/>
                <a:gd name="connsiteX6" fmla="*/ 6515 w 6559244"/>
                <a:gd name="connsiteY6" fmla="*/ 204755 h 610468"/>
                <a:gd name="connsiteX7" fmla="*/ 6516 w 6559244"/>
                <a:gd name="connsiteY7" fmla="*/ 132747 h 610468"/>
                <a:gd name="connsiteX0" fmla="*/ 6516 w 6559244"/>
                <a:gd name="connsiteY0" fmla="*/ 78202 h 555923"/>
                <a:gd name="connsiteX1" fmla="*/ 6559244 w 6559244"/>
                <a:gd name="connsiteY1" fmla="*/ 78202 h 555923"/>
                <a:gd name="connsiteX2" fmla="*/ 6559244 w 6559244"/>
                <a:gd name="connsiteY2" fmla="*/ 438748 h 555923"/>
                <a:gd name="connsiteX3" fmla="*/ 6516 w 6559244"/>
                <a:gd name="connsiteY3" fmla="*/ 438748 h 555923"/>
                <a:gd name="connsiteX4" fmla="*/ 6515 w 6559244"/>
                <a:gd name="connsiteY4" fmla="*/ 366234 h 555923"/>
                <a:gd name="connsiteX5" fmla="*/ 294547 w 6559244"/>
                <a:gd name="connsiteY5" fmla="*/ 222218 h 555923"/>
                <a:gd name="connsiteX6" fmla="*/ 6515 w 6559244"/>
                <a:gd name="connsiteY6" fmla="*/ 150210 h 555923"/>
                <a:gd name="connsiteX7" fmla="*/ 6516 w 6559244"/>
                <a:gd name="connsiteY7" fmla="*/ 78202 h 555923"/>
                <a:gd name="connsiteX0" fmla="*/ 6516 w 6559244"/>
                <a:gd name="connsiteY0" fmla="*/ 78202 h 529134"/>
                <a:gd name="connsiteX1" fmla="*/ 6559244 w 6559244"/>
                <a:gd name="connsiteY1" fmla="*/ 78202 h 529134"/>
                <a:gd name="connsiteX2" fmla="*/ 6559244 w 6559244"/>
                <a:gd name="connsiteY2" fmla="*/ 438748 h 529134"/>
                <a:gd name="connsiteX3" fmla="*/ 6516 w 6559244"/>
                <a:gd name="connsiteY3" fmla="*/ 438748 h 529134"/>
                <a:gd name="connsiteX4" fmla="*/ 6515 w 6559244"/>
                <a:gd name="connsiteY4" fmla="*/ 366234 h 529134"/>
                <a:gd name="connsiteX5" fmla="*/ 294547 w 6559244"/>
                <a:gd name="connsiteY5" fmla="*/ 222218 h 529134"/>
                <a:gd name="connsiteX6" fmla="*/ 6515 w 6559244"/>
                <a:gd name="connsiteY6" fmla="*/ 150210 h 529134"/>
                <a:gd name="connsiteX7" fmla="*/ 6516 w 6559244"/>
                <a:gd name="connsiteY7" fmla="*/ 78202 h 529134"/>
                <a:gd name="connsiteX0" fmla="*/ 6516 w 6559244"/>
                <a:gd name="connsiteY0" fmla="*/ 12388 h 529134"/>
                <a:gd name="connsiteX1" fmla="*/ 6559244 w 6559244"/>
                <a:gd name="connsiteY1" fmla="*/ 12388 h 529134"/>
                <a:gd name="connsiteX2" fmla="*/ 6559244 w 6559244"/>
                <a:gd name="connsiteY2" fmla="*/ 372934 h 529134"/>
                <a:gd name="connsiteX3" fmla="*/ 6516 w 6559244"/>
                <a:gd name="connsiteY3" fmla="*/ 372934 h 529134"/>
                <a:gd name="connsiteX4" fmla="*/ 6515 w 6559244"/>
                <a:gd name="connsiteY4" fmla="*/ 300420 h 529134"/>
                <a:gd name="connsiteX5" fmla="*/ 288032 w 6559244"/>
                <a:gd name="connsiteY5" fmla="*/ 222218 h 529134"/>
                <a:gd name="connsiteX6" fmla="*/ 6515 w 6559244"/>
                <a:gd name="connsiteY6" fmla="*/ 84396 h 529134"/>
                <a:gd name="connsiteX7" fmla="*/ 6516 w 6559244"/>
                <a:gd name="connsiteY7" fmla="*/ 12388 h 529134"/>
                <a:gd name="connsiteX0" fmla="*/ 6516 w 6559244"/>
                <a:gd name="connsiteY0" fmla="*/ 70902 h 587648"/>
                <a:gd name="connsiteX1" fmla="*/ 6559244 w 6559244"/>
                <a:gd name="connsiteY1" fmla="*/ 70902 h 587648"/>
                <a:gd name="connsiteX2" fmla="*/ 6559244 w 6559244"/>
                <a:gd name="connsiteY2" fmla="*/ 431448 h 587648"/>
                <a:gd name="connsiteX3" fmla="*/ 6516 w 6559244"/>
                <a:gd name="connsiteY3" fmla="*/ 431448 h 587648"/>
                <a:gd name="connsiteX4" fmla="*/ 6515 w 6559244"/>
                <a:gd name="connsiteY4" fmla="*/ 358934 h 587648"/>
                <a:gd name="connsiteX5" fmla="*/ 288032 w 6559244"/>
                <a:gd name="connsiteY5" fmla="*/ 280732 h 587648"/>
                <a:gd name="connsiteX6" fmla="*/ 6515 w 6559244"/>
                <a:gd name="connsiteY6" fmla="*/ 142910 h 587648"/>
                <a:gd name="connsiteX7" fmla="*/ 6516 w 6559244"/>
                <a:gd name="connsiteY7" fmla="*/ 70902 h 587648"/>
                <a:gd name="connsiteX0" fmla="*/ 6516 w 6559244"/>
                <a:gd name="connsiteY0" fmla="*/ 155040 h 671786"/>
                <a:gd name="connsiteX1" fmla="*/ 6559244 w 6559244"/>
                <a:gd name="connsiteY1" fmla="*/ 155040 h 671786"/>
                <a:gd name="connsiteX2" fmla="*/ 6559244 w 6559244"/>
                <a:gd name="connsiteY2" fmla="*/ 515586 h 671786"/>
                <a:gd name="connsiteX3" fmla="*/ 6516 w 6559244"/>
                <a:gd name="connsiteY3" fmla="*/ 515586 h 671786"/>
                <a:gd name="connsiteX4" fmla="*/ 6515 w 6559244"/>
                <a:gd name="connsiteY4" fmla="*/ 443072 h 671786"/>
                <a:gd name="connsiteX5" fmla="*/ 288032 w 6559244"/>
                <a:gd name="connsiteY5" fmla="*/ 364870 h 671786"/>
                <a:gd name="connsiteX6" fmla="*/ 6515 w 6559244"/>
                <a:gd name="connsiteY6" fmla="*/ 227048 h 671786"/>
                <a:gd name="connsiteX7" fmla="*/ 6516 w 6559244"/>
                <a:gd name="connsiteY7" fmla="*/ 155040 h 671786"/>
                <a:gd name="connsiteX0" fmla="*/ 6516 w 6559244"/>
                <a:gd name="connsiteY0" fmla="*/ 88588 h 605334"/>
                <a:gd name="connsiteX1" fmla="*/ 6559244 w 6559244"/>
                <a:gd name="connsiteY1" fmla="*/ 88588 h 605334"/>
                <a:gd name="connsiteX2" fmla="*/ 6559244 w 6559244"/>
                <a:gd name="connsiteY2" fmla="*/ 449134 h 605334"/>
                <a:gd name="connsiteX3" fmla="*/ 6516 w 6559244"/>
                <a:gd name="connsiteY3" fmla="*/ 449134 h 605334"/>
                <a:gd name="connsiteX4" fmla="*/ 6515 w 6559244"/>
                <a:gd name="connsiteY4" fmla="*/ 376620 h 605334"/>
                <a:gd name="connsiteX5" fmla="*/ 288032 w 6559244"/>
                <a:gd name="connsiteY5" fmla="*/ 298418 h 605334"/>
                <a:gd name="connsiteX6" fmla="*/ 6515 w 6559244"/>
                <a:gd name="connsiteY6" fmla="*/ 160596 h 605334"/>
                <a:gd name="connsiteX7" fmla="*/ 6516 w 6559244"/>
                <a:gd name="connsiteY7" fmla="*/ 88588 h 605334"/>
                <a:gd name="connsiteX0" fmla="*/ 6516 w 6559244"/>
                <a:gd name="connsiteY0" fmla="*/ 88588 h 597595"/>
                <a:gd name="connsiteX1" fmla="*/ 6559244 w 6559244"/>
                <a:gd name="connsiteY1" fmla="*/ 88588 h 597595"/>
                <a:gd name="connsiteX2" fmla="*/ 6559244 w 6559244"/>
                <a:gd name="connsiteY2" fmla="*/ 449134 h 597595"/>
                <a:gd name="connsiteX3" fmla="*/ 6516 w 6559244"/>
                <a:gd name="connsiteY3" fmla="*/ 449134 h 597595"/>
                <a:gd name="connsiteX4" fmla="*/ 6515 w 6559244"/>
                <a:gd name="connsiteY4" fmla="*/ 376620 h 597595"/>
                <a:gd name="connsiteX5" fmla="*/ 288032 w 6559244"/>
                <a:gd name="connsiteY5" fmla="*/ 298418 h 597595"/>
                <a:gd name="connsiteX6" fmla="*/ 6515 w 6559244"/>
                <a:gd name="connsiteY6" fmla="*/ 160596 h 597595"/>
                <a:gd name="connsiteX7" fmla="*/ 6516 w 6559244"/>
                <a:gd name="connsiteY7" fmla="*/ 88588 h 597595"/>
                <a:gd name="connsiteX0" fmla="*/ 6516 w 6559244"/>
                <a:gd name="connsiteY0" fmla="*/ 103669 h 612676"/>
                <a:gd name="connsiteX1" fmla="*/ 6559244 w 6559244"/>
                <a:gd name="connsiteY1" fmla="*/ 103669 h 612676"/>
                <a:gd name="connsiteX2" fmla="*/ 6559244 w 6559244"/>
                <a:gd name="connsiteY2" fmla="*/ 464215 h 612676"/>
                <a:gd name="connsiteX3" fmla="*/ 6516 w 6559244"/>
                <a:gd name="connsiteY3" fmla="*/ 464215 h 612676"/>
                <a:gd name="connsiteX4" fmla="*/ 6515 w 6559244"/>
                <a:gd name="connsiteY4" fmla="*/ 391701 h 612676"/>
                <a:gd name="connsiteX5" fmla="*/ 288032 w 6559244"/>
                <a:gd name="connsiteY5" fmla="*/ 313499 h 612676"/>
                <a:gd name="connsiteX6" fmla="*/ 6515 w 6559244"/>
                <a:gd name="connsiteY6" fmla="*/ 175677 h 612676"/>
                <a:gd name="connsiteX7" fmla="*/ 6516 w 6559244"/>
                <a:gd name="connsiteY7" fmla="*/ 103669 h 612676"/>
                <a:gd name="connsiteX0" fmla="*/ 6516 w 6559244"/>
                <a:gd name="connsiteY0" fmla="*/ 102082 h 611089"/>
                <a:gd name="connsiteX1" fmla="*/ 6559244 w 6559244"/>
                <a:gd name="connsiteY1" fmla="*/ 102082 h 611089"/>
                <a:gd name="connsiteX2" fmla="*/ 6559244 w 6559244"/>
                <a:gd name="connsiteY2" fmla="*/ 462628 h 611089"/>
                <a:gd name="connsiteX3" fmla="*/ 6516 w 6559244"/>
                <a:gd name="connsiteY3" fmla="*/ 462628 h 611089"/>
                <a:gd name="connsiteX4" fmla="*/ 6515 w 6559244"/>
                <a:gd name="connsiteY4" fmla="*/ 390114 h 611089"/>
                <a:gd name="connsiteX5" fmla="*/ 288032 w 6559244"/>
                <a:gd name="connsiteY5" fmla="*/ 311912 h 611089"/>
                <a:gd name="connsiteX6" fmla="*/ 6515 w 6559244"/>
                <a:gd name="connsiteY6" fmla="*/ 174090 h 611089"/>
                <a:gd name="connsiteX7" fmla="*/ 6516 w 6559244"/>
                <a:gd name="connsiteY7" fmla="*/ 102082 h 611089"/>
                <a:gd name="connsiteX0" fmla="*/ 6516 w 6559244"/>
                <a:gd name="connsiteY0" fmla="*/ 102082 h 586681"/>
                <a:gd name="connsiteX1" fmla="*/ 6559244 w 6559244"/>
                <a:gd name="connsiteY1" fmla="*/ 102082 h 586681"/>
                <a:gd name="connsiteX2" fmla="*/ 6559244 w 6559244"/>
                <a:gd name="connsiteY2" fmla="*/ 462628 h 586681"/>
                <a:gd name="connsiteX3" fmla="*/ 6516 w 6559244"/>
                <a:gd name="connsiteY3" fmla="*/ 462628 h 586681"/>
                <a:gd name="connsiteX4" fmla="*/ 6515 w 6559244"/>
                <a:gd name="connsiteY4" fmla="*/ 390114 h 586681"/>
                <a:gd name="connsiteX5" fmla="*/ 288032 w 6559244"/>
                <a:gd name="connsiteY5" fmla="*/ 311912 h 586681"/>
                <a:gd name="connsiteX6" fmla="*/ 6515 w 6559244"/>
                <a:gd name="connsiteY6" fmla="*/ 174090 h 586681"/>
                <a:gd name="connsiteX7" fmla="*/ 6516 w 6559244"/>
                <a:gd name="connsiteY7" fmla="*/ 102082 h 586681"/>
                <a:gd name="connsiteX0" fmla="*/ 6516 w 6559244"/>
                <a:gd name="connsiteY0" fmla="*/ 124307 h 608906"/>
                <a:gd name="connsiteX1" fmla="*/ 6559244 w 6559244"/>
                <a:gd name="connsiteY1" fmla="*/ 124307 h 608906"/>
                <a:gd name="connsiteX2" fmla="*/ 6559244 w 6559244"/>
                <a:gd name="connsiteY2" fmla="*/ 484853 h 608906"/>
                <a:gd name="connsiteX3" fmla="*/ 6516 w 6559244"/>
                <a:gd name="connsiteY3" fmla="*/ 484853 h 608906"/>
                <a:gd name="connsiteX4" fmla="*/ 6515 w 6559244"/>
                <a:gd name="connsiteY4" fmla="*/ 412339 h 608906"/>
                <a:gd name="connsiteX5" fmla="*/ 288032 w 6559244"/>
                <a:gd name="connsiteY5" fmla="*/ 334137 h 608906"/>
                <a:gd name="connsiteX6" fmla="*/ 6515 w 6559244"/>
                <a:gd name="connsiteY6" fmla="*/ 196315 h 608906"/>
                <a:gd name="connsiteX7" fmla="*/ 6516 w 6559244"/>
                <a:gd name="connsiteY7" fmla="*/ 124307 h 608906"/>
                <a:gd name="connsiteX0" fmla="*/ 6516 w 6559244"/>
                <a:gd name="connsiteY0" fmla="*/ 81668 h 566267"/>
                <a:gd name="connsiteX1" fmla="*/ 6559244 w 6559244"/>
                <a:gd name="connsiteY1" fmla="*/ 81668 h 566267"/>
                <a:gd name="connsiteX2" fmla="*/ 6559244 w 6559244"/>
                <a:gd name="connsiteY2" fmla="*/ 442214 h 566267"/>
                <a:gd name="connsiteX3" fmla="*/ 6516 w 6559244"/>
                <a:gd name="connsiteY3" fmla="*/ 442214 h 566267"/>
                <a:gd name="connsiteX4" fmla="*/ 6515 w 6559244"/>
                <a:gd name="connsiteY4" fmla="*/ 369700 h 566267"/>
                <a:gd name="connsiteX5" fmla="*/ 288032 w 6559244"/>
                <a:gd name="connsiteY5" fmla="*/ 291498 h 566267"/>
                <a:gd name="connsiteX6" fmla="*/ 6515 w 6559244"/>
                <a:gd name="connsiteY6" fmla="*/ 153676 h 566267"/>
                <a:gd name="connsiteX7" fmla="*/ 6516 w 6559244"/>
                <a:gd name="connsiteY7" fmla="*/ 81668 h 566267"/>
                <a:gd name="connsiteX0" fmla="*/ 6516 w 6559244"/>
                <a:gd name="connsiteY0" fmla="*/ 81668 h 520428"/>
                <a:gd name="connsiteX1" fmla="*/ 6559244 w 6559244"/>
                <a:gd name="connsiteY1" fmla="*/ 81668 h 520428"/>
                <a:gd name="connsiteX2" fmla="*/ 6559244 w 6559244"/>
                <a:gd name="connsiteY2" fmla="*/ 442214 h 520428"/>
                <a:gd name="connsiteX3" fmla="*/ 6516 w 6559244"/>
                <a:gd name="connsiteY3" fmla="*/ 442214 h 520428"/>
                <a:gd name="connsiteX4" fmla="*/ 6515 w 6559244"/>
                <a:gd name="connsiteY4" fmla="*/ 369700 h 520428"/>
                <a:gd name="connsiteX5" fmla="*/ 288032 w 6559244"/>
                <a:gd name="connsiteY5" fmla="*/ 291498 h 520428"/>
                <a:gd name="connsiteX6" fmla="*/ 6515 w 6559244"/>
                <a:gd name="connsiteY6" fmla="*/ 153676 h 520428"/>
                <a:gd name="connsiteX7" fmla="*/ 6516 w 6559244"/>
                <a:gd name="connsiteY7" fmla="*/ 81668 h 520428"/>
                <a:gd name="connsiteX0" fmla="*/ 6516 w 6559244"/>
                <a:gd name="connsiteY0" fmla="*/ 80081 h 518841"/>
                <a:gd name="connsiteX1" fmla="*/ 6559244 w 6559244"/>
                <a:gd name="connsiteY1" fmla="*/ 80081 h 518841"/>
                <a:gd name="connsiteX2" fmla="*/ 6559244 w 6559244"/>
                <a:gd name="connsiteY2" fmla="*/ 440627 h 518841"/>
                <a:gd name="connsiteX3" fmla="*/ 6516 w 6559244"/>
                <a:gd name="connsiteY3" fmla="*/ 440627 h 518841"/>
                <a:gd name="connsiteX4" fmla="*/ 6515 w 6559244"/>
                <a:gd name="connsiteY4" fmla="*/ 368113 h 518841"/>
                <a:gd name="connsiteX5" fmla="*/ 288032 w 6559244"/>
                <a:gd name="connsiteY5" fmla="*/ 289911 h 518841"/>
                <a:gd name="connsiteX6" fmla="*/ 6515 w 6559244"/>
                <a:gd name="connsiteY6" fmla="*/ 152089 h 518841"/>
                <a:gd name="connsiteX7" fmla="*/ 6516 w 6559244"/>
                <a:gd name="connsiteY7" fmla="*/ 80081 h 518841"/>
                <a:gd name="connsiteX0" fmla="*/ 6516 w 6559244"/>
                <a:gd name="connsiteY0" fmla="*/ 80080 h 518841"/>
                <a:gd name="connsiteX1" fmla="*/ 6559244 w 6559244"/>
                <a:gd name="connsiteY1" fmla="*/ 80080 h 518841"/>
                <a:gd name="connsiteX2" fmla="*/ 6559244 w 6559244"/>
                <a:gd name="connsiteY2" fmla="*/ 440626 h 518841"/>
                <a:gd name="connsiteX3" fmla="*/ 6516 w 6559244"/>
                <a:gd name="connsiteY3" fmla="*/ 440626 h 518841"/>
                <a:gd name="connsiteX4" fmla="*/ 6515 w 6559244"/>
                <a:gd name="connsiteY4" fmla="*/ 368112 h 518841"/>
                <a:gd name="connsiteX5" fmla="*/ 288032 w 6559244"/>
                <a:gd name="connsiteY5" fmla="*/ 289911 h 518841"/>
                <a:gd name="connsiteX6" fmla="*/ 6515 w 6559244"/>
                <a:gd name="connsiteY6" fmla="*/ 152088 h 518841"/>
                <a:gd name="connsiteX7" fmla="*/ 6516 w 6559244"/>
                <a:gd name="connsiteY7" fmla="*/ 80080 h 518841"/>
                <a:gd name="connsiteX0" fmla="*/ 6516 w 6559244"/>
                <a:gd name="connsiteY0" fmla="*/ 152089 h 518841"/>
                <a:gd name="connsiteX1" fmla="*/ 6559244 w 6559244"/>
                <a:gd name="connsiteY1" fmla="*/ 152089 h 518841"/>
                <a:gd name="connsiteX2" fmla="*/ 6559244 w 6559244"/>
                <a:gd name="connsiteY2" fmla="*/ 512635 h 518841"/>
                <a:gd name="connsiteX3" fmla="*/ 6516 w 6559244"/>
                <a:gd name="connsiteY3" fmla="*/ 512635 h 518841"/>
                <a:gd name="connsiteX4" fmla="*/ 6515 w 6559244"/>
                <a:gd name="connsiteY4" fmla="*/ 440121 h 518841"/>
                <a:gd name="connsiteX5" fmla="*/ 288032 w 6559244"/>
                <a:gd name="connsiteY5" fmla="*/ 289911 h 518841"/>
                <a:gd name="connsiteX6" fmla="*/ 6515 w 6559244"/>
                <a:gd name="connsiteY6" fmla="*/ 224097 h 518841"/>
                <a:gd name="connsiteX7" fmla="*/ 6516 w 6559244"/>
                <a:gd name="connsiteY7" fmla="*/ 152089 h 518841"/>
                <a:gd name="connsiteX0" fmla="*/ 6516 w 6559244"/>
                <a:gd name="connsiteY0" fmla="*/ 152089 h 714649"/>
                <a:gd name="connsiteX1" fmla="*/ 6559244 w 6559244"/>
                <a:gd name="connsiteY1" fmla="*/ 152089 h 714649"/>
                <a:gd name="connsiteX2" fmla="*/ 6559244 w 6559244"/>
                <a:gd name="connsiteY2" fmla="*/ 512635 h 714649"/>
                <a:gd name="connsiteX3" fmla="*/ 6516 w 6559244"/>
                <a:gd name="connsiteY3" fmla="*/ 512635 h 714649"/>
                <a:gd name="connsiteX4" fmla="*/ 6515 w 6559244"/>
                <a:gd name="connsiteY4" fmla="*/ 440121 h 714649"/>
                <a:gd name="connsiteX5" fmla="*/ 288032 w 6559244"/>
                <a:gd name="connsiteY5" fmla="*/ 289911 h 714649"/>
                <a:gd name="connsiteX6" fmla="*/ 6515 w 6559244"/>
                <a:gd name="connsiteY6" fmla="*/ 224097 h 714649"/>
                <a:gd name="connsiteX7" fmla="*/ 6516 w 6559244"/>
                <a:gd name="connsiteY7" fmla="*/ 152089 h 714649"/>
                <a:gd name="connsiteX0" fmla="*/ 6516 w 6559244"/>
                <a:gd name="connsiteY0" fmla="*/ 47537 h 610097"/>
                <a:gd name="connsiteX1" fmla="*/ 6559244 w 6559244"/>
                <a:gd name="connsiteY1" fmla="*/ 47537 h 610097"/>
                <a:gd name="connsiteX2" fmla="*/ 6559244 w 6559244"/>
                <a:gd name="connsiteY2" fmla="*/ 408083 h 610097"/>
                <a:gd name="connsiteX3" fmla="*/ 6516 w 6559244"/>
                <a:gd name="connsiteY3" fmla="*/ 408083 h 610097"/>
                <a:gd name="connsiteX4" fmla="*/ 6515 w 6559244"/>
                <a:gd name="connsiteY4" fmla="*/ 335569 h 610097"/>
                <a:gd name="connsiteX5" fmla="*/ 288032 w 6559244"/>
                <a:gd name="connsiteY5" fmla="*/ 185359 h 610097"/>
                <a:gd name="connsiteX6" fmla="*/ 6515 w 6559244"/>
                <a:gd name="connsiteY6" fmla="*/ 119545 h 610097"/>
                <a:gd name="connsiteX7" fmla="*/ 6516 w 6559244"/>
                <a:gd name="connsiteY7" fmla="*/ 47537 h 610097"/>
                <a:gd name="connsiteX0" fmla="*/ 6516 w 6559244"/>
                <a:gd name="connsiteY0" fmla="*/ 47537 h 523206"/>
                <a:gd name="connsiteX1" fmla="*/ 6559244 w 6559244"/>
                <a:gd name="connsiteY1" fmla="*/ 47537 h 523206"/>
                <a:gd name="connsiteX2" fmla="*/ 6559244 w 6559244"/>
                <a:gd name="connsiteY2" fmla="*/ 408083 h 523206"/>
                <a:gd name="connsiteX3" fmla="*/ 6516 w 6559244"/>
                <a:gd name="connsiteY3" fmla="*/ 408083 h 523206"/>
                <a:gd name="connsiteX4" fmla="*/ 6515 w 6559244"/>
                <a:gd name="connsiteY4" fmla="*/ 335569 h 523206"/>
                <a:gd name="connsiteX5" fmla="*/ 288032 w 6559244"/>
                <a:gd name="connsiteY5" fmla="*/ 185359 h 523206"/>
                <a:gd name="connsiteX6" fmla="*/ 6515 w 6559244"/>
                <a:gd name="connsiteY6" fmla="*/ 119545 h 523206"/>
                <a:gd name="connsiteX7" fmla="*/ 6516 w 6559244"/>
                <a:gd name="connsiteY7" fmla="*/ 47537 h 523206"/>
                <a:gd name="connsiteX0" fmla="*/ 6516 w 6559244"/>
                <a:gd name="connsiteY0" fmla="*/ 0 h 547678"/>
                <a:gd name="connsiteX1" fmla="*/ 6559244 w 6559244"/>
                <a:gd name="connsiteY1" fmla="*/ 0 h 547678"/>
                <a:gd name="connsiteX2" fmla="*/ 6559244 w 6559244"/>
                <a:gd name="connsiteY2" fmla="*/ 360546 h 547678"/>
                <a:gd name="connsiteX3" fmla="*/ 6516 w 6559244"/>
                <a:gd name="connsiteY3" fmla="*/ 360546 h 547678"/>
                <a:gd name="connsiteX4" fmla="*/ 6515 w 6559244"/>
                <a:gd name="connsiteY4" fmla="*/ 288032 h 547678"/>
                <a:gd name="connsiteX5" fmla="*/ 288032 w 6559244"/>
                <a:gd name="connsiteY5" fmla="*/ 209831 h 547678"/>
                <a:gd name="connsiteX6" fmla="*/ 6515 w 6559244"/>
                <a:gd name="connsiteY6" fmla="*/ 72008 h 547678"/>
                <a:gd name="connsiteX7" fmla="*/ 6516 w 6559244"/>
                <a:gd name="connsiteY7" fmla="*/ 0 h 547678"/>
                <a:gd name="connsiteX0" fmla="*/ 6516 w 6559244"/>
                <a:gd name="connsiteY0" fmla="*/ 0 h 547678"/>
                <a:gd name="connsiteX1" fmla="*/ 6559244 w 6559244"/>
                <a:gd name="connsiteY1" fmla="*/ 0 h 547678"/>
                <a:gd name="connsiteX2" fmla="*/ 6559244 w 6559244"/>
                <a:gd name="connsiteY2" fmla="*/ 360546 h 547678"/>
                <a:gd name="connsiteX3" fmla="*/ 6516 w 6559244"/>
                <a:gd name="connsiteY3" fmla="*/ 360546 h 547678"/>
                <a:gd name="connsiteX4" fmla="*/ 6515 w 6559244"/>
                <a:gd name="connsiteY4" fmla="*/ 288032 h 547678"/>
                <a:gd name="connsiteX5" fmla="*/ 288032 w 6559244"/>
                <a:gd name="connsiteY5" fmla="*/ 209831 h 547678"/>
                <a:gd name="connsiteX6" fmla="*/ 6515 w 6559244"/>
                <a:gd name="connsiteY6" fmla="*/ 72008 h 547678"/>
                <a:gd name="connsiteX7" fmla="*/ 6516 w 6559244"/>
                <a:gd name="connsiteY7" fmla="*/ 0 h 547678"/>
                <a:gd name="connsiteX0" fmla="*/ 6516 w 6559244"/>
                <a:gd name="connsiteY0" fmla="*/ 0 h 398875"/>
                <a:gd name="connsiteX1" fmla="*/ 6559244 w 6559244"/>
                <a:gd name="connsiteY1" fmla="*/ 0 h 398875"/>
                <a:gd name="connsiteX2" fmla="*/ 6559244 w 6559244"/>
                <a:gd name="connsiteY2" fmla="*/ 360546 h 398875"/>
                <a:gd name="connsiteX3" fmla="*/ 6516 w 6559244"/>
                <a:gd name="connsiteY3" fmla="*/ 360546 h 398875"/>
                <a:gd name="connsiteX4" fmla="*/ 6515 w 6559244"/>
                <a:gd name="connsiteY4" fmla="*/ 288032 h 398875"/>
                <a:gd name="connsiteX5" fmla="*/ 288032 w 6559244"/>
                <a:gd name="connsiteY5" fmla="*/ 209831 h 398875"/>
                <a:gd name="connsiteX6" fmla="*/ 6515 w 6559244"/>
                <a:gd name="connsiteY6" fmla="*/ 72008 h 398875"/>
                <a:gd name="connsiteX7" fmla="*/ 6516 w 6559244"/>
                <a:gd name="connsiteY7" fmla="*/ 0 h 398875"/>
                <a:gd name="connsiteX0" fmla="*/ 6516 w 6559244"/>
                <a:gd name="connsiteY0" fmla="*/ 10800 h 371346"/>
                <a:gd name="connsiteX1" fmla="*/ 6559244 w 6559244"/>
                <a:gd name="connsiteY1" fmla="*/ 10800 h 371346"/>
                <a:gd name="connsiteX2" fmla="*/ 6559244 w 6559244"/>
                <a:gd name="connsiteY2" fmla="*/ 371346 h 371346"/>
                <a:gd name="connsiteX3" fmla="*/ 6516 w 6559244"/>
                <a:gd name="connsiteY3" fmla="*/ 371346 h 371346"/>
                <a:gd name="connsiteX4" fmla="*/ 6515 w 6559244"/>
                <a:gd name="connsiteY4" fmla="*/ 298832 h 371346"/>
                <a:gd name="connsiteX5" fmla="*/ 288032 w 6559244"/>
                <a:gd name="connsiteY5" fmla="*/ 148623 h 371346"/>
                <a:gd name="connsiteX6" fmla="*/ 6515 w 6559244"/>
                <a:gd name="connsiteY6" fmla="*/ 82808 h 371346"/>
                <a:gd name="connsiteX7" fmla="*/ 6516 w 6559244"/>
                <a:gd name="connsiteY7" fmla="*/ 10800 h 371346"/>
                <a:gd name="connsiteX0" fmla="*/ 6516 w 6559244"/>
                <a:gd name="connsiteY0" fmla="*/ 10800 h 428700"/>
                <a:gd name="connsiteX1" fmla="*/ 6559244 w 6559244"/>
                <a:gd name="connsiteY1" fmla="*/ 10800 h 428700"/>
                <a:gd name="connsiteX2" fmla="*/ 6559244 w 6559244"/>
                <a:gd name="connsiteY2" fmla="*/ 371346 h 428700"/>
                <a:gd name="connsiteX3" fmla="*/ 6516 w 6559244"/>
                <a:gd name="connsiteY3" fmla="*/ 371346 h 428700"/>
                <a:gd name="connsiteX4" fmla="*/ 6515 w 6559244"/>
                <a:gd name="connsiteY4" fmla="*/ 298832 h 428700"/>
                <a:gd name="connsiteX5" fmla="*/ 288032 w 6559244"/>
                <a:gd name="connsiteY5" fmla="*/ 148623 h 428700"/>
                <a:gd name="connsiteX6" fmla="*/ 6515 w 6559244"/>
                <a:gd name="connsiteY6" fmla="*/ 82808 h 428700"/>
                <a:gd name="connsiteX7" fmla="*/ 6516 w 6559244"/>
                <a:gd name="connsiteY7" fmla="*/ 10800 h 428700"/>
                <a:gd name="connsiteX0" fmla="*/ 6516 w 6559244"/>
                <a:gd name="connsiteY0" fmla="*/ 10800 h 495350"/>
                <a:gd name="connsiteX1" fmla="*/ 6559244 w 6559244"/>
                <a:gd name="connsiteY1" fmla="*/ 10800 h 495350"/>
                <a:gd name="connsiteX2" fmla="*/ 6559244 w 6559244"/>
                <a:gd name="connsiteY2" fmla="*/ 371346 h 495350"/>
                <a:gd name="connsiteX3" fmla="*/ 6516 w 6559244"/>
                <a:gd name="connsiteY3" fmla="*/ 371346 h 495350"/>
                <a:gd name="connsiteX4" fmla="*/ 6515 w 6559244"/>
                <a:gd name="connsiteY4" fmla="*/ 298832 h 495350"/>
                <a:gd name="connsiteX5" fmla="*/ 288032 w 6559244"/>
                <a:gd name="connsiteY5" fmla="*/ 148623 h 495350"/>
                <a:gd name="connsiteX6" fmla="*/ 6515 w 6559244"/>
                <a:gd name="connsiteY6" fmla="*/ 82808 h 495350"/>
                <a:gd name="connsiteX7" fmla="*/ 6516 w 6559244"/>
                <a:gd name="connsiteY7" fmla="*/ 10800 h 495350"/>
                <a:gd name="connsiteX0" fmla="*/ 6516 w 6559244"/>
                <a:gd name="connsiteY0" fmla="*/ 14546 h 499096"/>
                <a:gd name="connsiteX1" fmla="*/ 6559244 w 6559244"/>
                <a:gd name="connsiteY1" fmla="*/ 14546 h 499096"/>
                <a:gd name="connsiteX2" fmla="*/ 6559244 w 6559244"/>
                <a:gd name="connsiteY2" fmla="*/ 375092 h 499096"/>
                <a:gd name="connsiteX3" fmla="*/ 6516 w 6559244"/>
                <a:gd name="connsiteY3" fmla="*/ 375092 h 499096"/>
                <a:gd name="connsiteX4" fmla="*/ 6515 w 6559244"/>
                <a:gd name="connsiteY4" fmla="*/ 302578 h 499096"/>
                <a:gd name="connsiteX5" fmla="*/ 288032 w 6559244"/>
                <a:gd name="connsiteY5" fmla="*/ 152369 h 499096"/>
                <a:gd name="connsiteX6" fmla="*/ 6515 w 6559244"/>
                <a:gd name="connsiteY6" fmla="*/ 86554 h 499096"/>
                <a:gd name="connsiteX7" fmla="*/ 6516 w 6559244"/>
                <a:gd name="connsiteY7" fmla="*/ 14546 h 499096"/>
                <a:gd name="connsiteX0" fmla="*/ 6516 w 6559244"/>
                <a:gd name="connsiteY0" fmla="*/ 0 h 556558"/>
                <a:gd name="connsiteX1" fmla="*/ 6559244 w 6559244"/>
                <a:gd name="connsiteY1" fmla="*/ 0 h 556558"/>
                <a:gd name="connsiteX2" fmla="*/ 6559244 w 6559244"/>
                <a:gd name="connsiteY2" fmla="*/ 360546 h 556558"/>
                <a:gd name="connsiteX3" fmla="*/ 6516 w 6559244"/>
                <a:gd name="connsiteY3" fmla="*/ 360546 h 556558"/>
                <a:gd name="connsiteX4" fmla="*/ 6515 w 6559244"/>
                <a:gd name="connsiteY4" fmla="*/ 288032 h 556558"/>
                <a:gd name="connsiteX5" fmla="*/ 288032 w 6559244"/>
                <a:gd name="connsiteY5" fmla="*/ 209831 h 556558"/>
                <a:gd name="connsiteX6" fmla="*/ 6515 w 6559244"/>
                <a:gd name="connsiteY6" fmla="*/ 72008 h 556558"/>
                <a:gd name="connsiteX7" fmla="*/ 6516 w 6559244"/>
                <a:gd name="connsiteY7" fmla="*/ 0 h 556558"/>
                <a:gd name="connsiteX0" fmla="*/ 6516 w 6559244"/>
                <a:gd name="connsiteY0" fmla="*/ 15910 h 572468"/>
                <a:gd name="connsiteX1" fmla="*/ 6559244 w 6559244"/>
                <a:gd name="connsiteY1" fmla="*/ 15910 h 572468"/>
                <a:gd name="connsiteX2" fmla="*/ 6559244 w 6559244"/>
                <a:gd name="connsiteY2" fmla="*/ 376456 h 572468"/>
                <a:gd name="connsiteX3" fmla="*/ 6516 w 6559244"/>
                <a:gd name="connsiteY3" fmla="*/ 376456 h 572468"/>
                <a:gd name="connsiteX4" fmla="*/ 6515 w 6559244"/>
                <a:gd name="connsiteY4" fmla="*/ 303942 h 572468"/>
                <a:gd name="connsiteX5" fmla="*/ 288032 w 6559244"/>
                <a:gd name="connsiteY5" fmla="*/ 225741 h 572468"/>
                <a:gd name="connsiteX6" fmla="*/ 6515 w 6559244"/>
                <a:gd name="connsiteY6" fmla="*/ 87918 h 572468"/>
                <a:gd name="connsiteX7" fmla="*/ 6516 w 6559244"/>
                <a:gd name="connsiteY7" fmla="*/ 15910 h 572468"/>
                <a:gd name="connsiteX0" fmla="*/ 6516 w 6559244"/>
                <a:gd name="connsiteY0" fmla="*/ 15910 h 572468"/>
                <a:gd name="connsiteX1" fmla="*/ 6559244 w 6559244"/>
                <a:gd name="connsiteY1" fmla="*/ 15910 h 572468"/>
                <a:gd name="connsiteX2" fmla="*/ 6559244 w 6559244"/>
                <a:gd name="connsiteY2" fmla="*/ 376456 h 572468"/>
                <a:gd name="connsiteX3" fmla="*/ 6516 w 6559244"/>
                <a:gd name="connsiteY3" fmla="*/ 376456 h 572468"/>
                <a:gd name="connsiteX4" fmla="*/ 6515 w 6559244"/>
                <a:gd name="connsiteY4" fmla="*/ 303942 h 572468"/>
                <a:gd name="connsiteX5" fmla="*/ 288032 w 6559244"/>
                <a:gd name="connsiteY5" fmla="*/ 225741 h 572468"/>
                <a:gd name="connsiteX6" fmla="*/ 6515 w 6559244"/>
                <a:gd name="connsiteY6" fmla="*/ 87918 h 572468"/>
                <a:gd name="connsiteX7" fmla="*/ 6516 w 6559244"/>
                <a:gd name="connsiteY7" fmla="*/ 15910 h 572468"/>
                <a:gd name="connsiteX0" fmla="*/ 1 w 6552729"/>
                <a:gd name="connsiteY0" fmla="*/ 15910 h 572468"/>
                <a:gd name="connsiteX1" fmla="*/ 6552729 w 6552729"/>
                <a:gd name="connsiteY1" fmla="*/ 15910 h 572468"/>
                <a:gd name="connsiteX2" fmla="*/ 6552729 w 6552729"/>
                <a:gd name="connsiteY2" fmla="*/ 376456 h 572468"/>
                <a:gd name="connsiteX3" fmla="*/ 1 w 6552729"/>
                <a:gd name="connsiteY3" fmla="*/ 376456 h 572468"/>
                <a:gd name="connsiteX4" fmla="*/ 0 w 6552729"/>
                <a:gd name="connsiteY4" fmla="*/ 303942 h 572468"/>
                <a:gd name="connsiteX5" fmla="*/ 281517 w 6552729"/>
                <a:gd name="connsiteY5" fmla="*/ 225741 h 572468"/>
                <a:gd name="connsiteX6" fmla="*/ 0 w 6552729"/>
                <a:gd name="connsiteY6" fmla="*/ 87918 h 572468"/>
                <a:gd name="connsiteX7" fmla="*/ 1 w 6552729"/>
                <a:gd name="connsiteY7" fmla="*/ 15910 h 572468"/>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74424 h 548854"/>
                <a:gd name="connsiteX1" fmla="*/ 6552729 w 6552729"/>
                <a:gd name="connsiteY1" fmla="*/ 74424 h 548854"/>
                <a:gd name="connsiteX2" fmla="*/ 6552729 w 6552729"/>
                <a:gd name="connsiteY2" fmla="*/ 434970 h 548854"/>
                <a:gd name="connsiteX3" fmla="*/ 1 w 6552729"/>
                <a:gd name="connsiteY3" fmla="*/ 434970 h 548854"/>
                <a:gd name="connsiteX4" fmla="*/ 0 w 6552729"/>
                <a:gd name="connsiteY4" fmla="*/ 362456 h 548854"/>
                <a:gd name="connsiteX5" fmla="*/ 281517 w 6552729"/>
                <a:gd name="connsiteY5" fmla="*/ 284255 h 548854"/>
                <a:gd name="connsiteX6" fmla="*/ 0 w 6552729"/>
                <a:gd name="connsiteY6" fmla="*/ 146432 h 548854"/>
                <a:gd name="connsiteX7" fmla="*/ 1 w 6552729"/>
                <a:gd name="connsiteY7" fmla="*/ 74424 h 548854"/>
                <a:gd name="connsiteX0" fmla="*/ 1 w 6552729"/>
                <a:gd name="connsiteY0" fmla="*/ 113318 h 587748"/>
                <a:gd name="connsiteX1" fmla="*/ 6552729 w 6552729"/>
                <a:gd name="connsiteY1" fmla="*/ 113318 h 587748"/>
                <a:gd name="connsiteX2" fmla="*/ 6552729 w 6552729"/>
                <a:gd name="connsiteY2" fmla="*/ 473864 h 587748"/>
                <a:gd name="connsiteX3" fmla="*/ 1 w 6552729"/>
                <a:gd name="connsiteY3" fmla="*/ 473864 h 587748"/>
                <a:gd name="connsiteX4" fmla="*/ 0 w 6552729"/>
                <a:gd name="connsiteY4" fmla="*/ 401350 h 587748"/>
                <a:gd name="connsiteX5" fmla="*/ 281517 w 6552729"/>
                <a:gd name="connsiteY5" fmla="*/ 323149 h 587748"/>
                <a:gd name="connsiteX6" fmla="*/ 0 w 6552729"/>
                <a:gd name="connsiteY6" fmla="*/ 185326 h 587748"/>
                <a:gd name="connsiteX7" fmla="*/ 1 w 6552729"/>
                <a:gd name="connsiteY7" fmla="*/ 113318 h 587748"/>
                <a:gd name="connsiteX0" fmla="*/ 1 w 6552729"/>
                <a:gd name="connsiteY0" fmla="*/ 113318 h 587748"/>
                <a:gd name="connsiteX1" fmla="*/ 6552729 w 6552729"/>
                <a:gd name="connsiteY1" fmla="*/ 113318 h 587748"/>
                <a:gd name="connsiteX2" fmla="*/ 6552729 w 6552729"/>
                <a:gd name="connsiteY2" fmla="*/ 473864 h 587748"/>
                <a:gd name="connsiteX3" fmla="*/ 1 w 6552729"/>
                <a:gd name="connsiteY3" fmla="*/ 473864 h 587748"/>
                <a:gd name="connsiteX4" fmla="*/ 0 w 6552729"/>
                <a:gd name="connsiteY4" fmla="*/ 401350 h 587748"/>
                <a:gd name="connsiteX5" fmla="*/ 281517 w 6552729"/>
                <a:gd name="connsiteY5" fmla="*/ 323149 h 587748"/>
                <a:gd name="connsiteX6" fmla="*/ 0 w 6552729"/>
                <a:gd name="connsiteY6" fmla="*/ 185326 h 587748"/>
                <a:gd name="connsiteX7" fmla="*/ 1 w 6552729"/>
                <a:gd name="connsiteY7" fmla="*/ 113318 h 587748"/>
                <a:gd name="connsiteX0" fmla="*/ 1 w 6552729"/>
                <a:gd name="connsiteY0" fmla="*/ 134973 h 609403"/>
                <a:gd name="connsiteX1" fmla="*/ 6552729 w 6552729"/>
                <a:gd name="connsiteY1" fmla="*/ 134973 h 609403"/>
                <a:gd name="connsiteX2" fmla="*/ 6552729 w 6552729"/>
                <a:gd name="connsiteY2" fmla="*/ 495519 h 609403"/>
                <a:gd name="connsiteX3" fmla="*/ 1 w 6552729"/>
                <a:gd name="connsiteY3" fmla="*/ 495519 h 609403"/>
                <a:gd name="connsiteX4" fmla="*/ 0 w 6552729"/>
                <a:gd name="connsiteY4" fmla="*/ 423005 h 609403"/>
                <a:gd name="connsiteX5" fmla="*/ 281517 w 6552729"/>
                <a:gd name="connsiteY5" fmla="*/ 344804 h 609403"/>
                <a:gd name="connsiteX6" fmla="*/ 0 w 6552729"/>
                <a:gd name="connsiteY6" fmla="*/ 206981 h 609403"/>
                <a:gd name="connsiteX7" fmla="*/ 1 w 6552729"/>
                <a:gd name="connsiteY7" fmla="*/ 134973 h 609403"/>
                <a:gd name="connsiteX0" fmla="*/ 1 w 6552729"/>
                <a:gd name="connsiteY0" fmla="*/ 134973 h 618333"/>
                <a:gd name="connsiteX1" fmla="*/ 6552729 w 6552729"/>
                <a:gd name="connsiteY1" fmla="*/ 134973 h 618333"/>
                <a:gd name="connsiteX2" fmla="*/ 6552729 w 6552729"/>
                <a:gd name="connsiteY2" fmla="*/ 495519 h 618333"/>
                <a:gd name="connsiteX3" fmla="*/ 1 w 6552729"/>
                <a:gd name="connsiteY3" fmla="*/ 495519 h 618333"/>
                <a:gd name="connsiteX4" fmla="*/ 0 w 6552729"/>
                <a:gd name="connsiteY4" fmla="*/ 423005 h 618333"/>
                <a:gd name="connsiteX5" fmla="*/ 281517 w 6552729"/>
                <a:gd name="connsiteY5" fmla="*/ 344804 h 618333"/>
                <a:gd name="connsiteX6" fmla="*/ 0 w 6552729"/>
                <a:gd name="connsiteY6" fmla="*/ 206981 h 618333"/>
                <a:gd name="connsiteX7" fmla="*/ 1 w 6552729"/>
                <a:gd name="connsiteY7" fmla="*/ 134973 h 618333"/>
                <a:gd name="connsiteX0" fmla="*/ 1 w 6552729"/>
                <a:gd name="connsiteY0" fmla="*/ 134973 h 629644"/>
                <a:gd name="connsiteX1" fmla="*/ 6552729 w 6552729"/>
                <a:gd name="connsiteY1" fmla="*/ 134973 h 629644"/>
                <a:gd name="connsiteX2" fmla="*/ 6552729 w 6552729"/>
                <a:gd name="connsiteY2" fmla="*/ 495519 h 629644"/>
                <a:gd name="connsiteX3" fmla="*/ 1 w 6552729"/>
                <a:gd name="connsiteY3" fmla="*/ 495519 h 629644"/>
                <a:gd name="connsiteX4" fmla="*/ 0 w 6552729"/>
                <a:gd name="connsiteY4" fmla="*/ 423005 h 629644"/>
                <a:gd name="connsiteX5" fmla="*/ 281517 w 6552729"/>
                <a:gd name="connsiteY5" fmla="*/ 344804 h 629644"/>
                <a:gd name="connsiteX6" fmla="*/ 0 w 6552729"/>
                <a:gd name="connsiteY6" fmla="*/ 206981 h 629644"/>
                <a:gd name="connsiteX7" fmla="*/ 1 w 6552729"/>
                <a:gd name="connsiteY7" fmla="*/ 134973 h 629644"/>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353525 w 6552729"/>
                <a:gd name="connsiteY5" fmla="*/ 344804 h 633811"/>
                <a:gd name="connsiteX6" fmla="*/ 0 w 6552729"/>
                <a:gd name="connsiteY6" fmla="*/ 206981 h 633811"/>
                <a:gd name="connsiteX7" fmla="*/ 1 w 6552729"/>
                <a:gd name="connsiteY7" fmla="*/ 134973 h 633811"/>
                <a:gd name="connsiteX0" fmla="*/ 1 w 6552729"/>
                <a:gd name="connsiteY0" fmla="*/ 109003 h 607841"/>
                <a:gd name="connsiteX1" fmla="*/ 6552729 w 6552729"/>
                <a:gd name="connsiteY1" fmla="*/ 109003 h 607841"/>
                <a:gd name="connsiteX2" fmla="*/ 6552729 w 6552729"/>
                <a:gd name="connsiteY2" fmla="*/ 469549 h 607841"/>
                <a:gd name="connsiteX3" fmla="*/ 1 w 6552729"/>
                <a:gd name="connsiteY3" fmla="*/ 469549 h 607841"/>
                <a:gd name="connsiteX4" fmla="*/ 0 w 6552729"/>
                <a:gd name="connsiteY4" fmla="*/ 397035 h 607841"/>
                <a:gd name="connsiteX5" fmla="*/ 353525 w 6552729"/>
                <a:gd name="connsiteY5" fmla="*/ 318834 h 607841"/>
                <a:gd name="connsiteX6" fmla="*/ 0 w 6552729"/>
                <a:gd name="connsiteY6" fmla="*/ 181011 h 607841"/>
                <a:gd name="connsiteX7" fmla="*/ 1 w 6552729"/>
                <a:gd name="connsiteY7" fmla="*/ 109003 h 607841"/>
                <a:gd name="connsiteX0" fmla="*/ 1 w 6552729"/>
                <a:gd name="connsiteY0" fmla="*/ 109003 h 578671"/>
                <a:gd name="connsiteX1" fmla="*/ 6552729 w 6552729"/>
                <a:gd name="connsiteY1" fmla="*/ 109003 h 578671"/>
                <a:gd name="connsiteX2" fmla="*/ 6552729 w 6552729"/>
                <a:gd name="connsiteY2" fmla="*/ 469549 h 578671"/>
                <a:gd name="connsiteX3" fmla="*/ 1 w 6552729"/>
                <a:gd name="connsiteY3" fmla="*/ 469549 h 578671"/>
                <a:gd name="connsiteX4" fmla="*/ 0 w 6552729"/>
                <a:gd name="connsiteY4" fmla="*/ 397035 h 578671"/>
                <a:gd name="connsiteX5" fmla="*/ 353525 w 6552729"/>
                <a:gd name="connsiteY5" fmla="*/ 318834 h 578671"/>
                <a:gd name="connsiteX6" fmla="*/ 0 w 6552729"/>
                <a:gd name="connsiteY6" fmla="*/ 181011 h 578671"/>
                <a:gd name="connsiteX7" fmla="*/ 1 w 6552729"/>
                <a:gd name="connsiteY7" fmla="*/ 109003 h 578671"/>
                <a:gd name="connsiteX0" fmla="*/ 1 w 6552729"/>
                <a:gd name="connsiteY0" fmla="*/ 109003 h 566169"/>
                <a:gd name="connsiteX1" fmla="*/ 6552729 w 6552729"/>
                <a:gd name="connsiteY1" fmla="*/ 109003 h 566169"/>
                <a:gd name="connsiteX2" fmla="*/ 6552729 w 6552729"/>
                <a:gd name="connsiteY2" fmla="*/ 469549 h 566169"/>
                <a:gd name="connsiteX3" fmla="*/ 1 w 6552729"/>
                <a:gd name="connsiteY3" fmla="*/ 469549 h 566169"/>
                <a:gd name="connsiteX4" fmla="*/ 0 w 6552729"/>
                <a:gd name="connsiteY4" fmla="*/ 397035 h 566169"/>
                <a:gd name="connsiteX5" fmla="*/ 353525 w 6552729"/>
                <a:gd name="connsiteY5" fmla="*/ 318834 h 566169"/>
                <a:gd name="connsiteX6" fmla="*/ 0 w 6552729"/>
                <a:gd name="connsiteY6" fmla="*/ 181011 h 566169"/>
                <a:gd name="connsiteX7" fmla="*/ 1 w 6552729"/>
                <a:gd name="connsiteY7" fmla="*/ 109003 h 566169"/>
                <a:gd name="connsiteX0" fmla="*/ 1 w 6552729"/>
                <a:gd name="connsiteY0" fmla="*/ 99701 h 556867"/>
                <a:gd name="connsiteX1" fmla="*/ 6552729 w 6552729"/>
                <a:gd name="connsiteY1" fmla="*/ 99701 h 556867"/>
                <a:gd name="connsiteX2" fmla="*/ 6552729 w 6552729"/>
                <a:gd name="connsiteY2" fmla="*/ 460247 h 556867"/>
                <a:gd name="connsiteX3" fmla="*/ 1 w 6552729"/>
                <a:gd name="connsiteY3" fmla="*/ 460247 h 556867"/>
                <a:gd name="connsiteX4" fmla="*/ 0 w 6552729"/>
                <a:gd name="connsiteY4" fmla="*/ 387733 h 556867"/>
                <a:gd name="connsiteX5" fmla="*/ 353525 w 6552729"/>
                <a:gd name="connsiteY5" fmla="*/ 309532 h 556867"/>
                <a:gd name="connsiteX6" fmla="*/ 0 w 6552729"/>
                <a:gd name="connsiteY6" fmla="*/ 171709 h 556867"/>
                <a:gd name="connsiteX7" fmla="*/ 1 w 6552729"/>
                <a:gd name="connsiteY7" fmla="*/ 99701 h 556867"/>
                <a:gd name="connsiteX0" fmla="*/ 1 w 6552729"/>
                <a:gd name="connsiteY0" fmla="*/ 119545 h 576711"/>
                <a:gd name="connsiteX1" fmla="*/ 6552729 w 6552729"/>
                <a:gd name="connsiteY1" fmla="*/ 119545 h 576711"/>
                <a:gd name="connsiteX2" fmla="*/ 6552729 w 6552729"/>
                <a:gd name="connsiteY2" fmla="*/ 480091 h 576711"/>
                <a:gd name="connsiteX3" fmla="*/ 1 w 6552729"/>
                <a:gd name="connsiteY3" fmla="*/ 480091 h 576711"/>
                <a:gd name="connsiteX4" fmla="*/ 0 w 6552729"/>
                <a:gd name="connsiteY4" fmla="*/ 407577 h 576711"/>
                <a:gd name="connsiteX5" fmla="*/ 353525 w 6552729"/>
                <a:gd name="connsiteY5" fmla="*/ 329376 h 576711"/>
                <a:gd name="connsiteX6" fmla="*/ 0 w 6552729"/>
                <a:gd name="connsiteY6" fmla="*/ 191553 h 576711"/>
                <a:gd name="connsiteX7" fmla="*/ 1 w 6552729"/>
                <a:gd name="connsiteY7" fmla="*/ 119545 h 576711"/>
                <a:gd name="connsiteX0" fmla="*/ 1 w 6552729"/>
                <a:gd name="connsiteY0" fmla="*/ 119545 h 617167"/>
                <a:gd name="connsiteX1" fmla="*/ 6552729 w 6552729"/>
                <a:gd name="connsiteY1" fmla="*/ 119545 h 617167"/>
                <a:gd name="connsiteX2" fmla="*/ 6552729 w 6552729"/>
                <a:gd name="connsiteY2" fmla="*/ 480091 h 617167"/>
                <a:gd name="connsiteX3" fmla="*/ 1 w 6552729"/>
                <a:gd name="connsiteY3" fmla="*/ 480091 h 617167"/>
                <a:gd name="connsiteX4" fmla="*/ 0 w 6552729"/>
                <a:gd name="connsiteY4" fmla="*/ 407577 h 617167"/>
                <a:gd name="connsiteX5" fmla="*/ 353525 w 6552729"/>
                <a:gd name="connsiteY5" fmla="*/ 329376 h 617167"/>
                <a:gd name="connsiteX6" fmla="*/ 0 w 6552729"/>
                <a:gd name="connsiteY6" fmla="*/ 191553 h 617167"/>
                <a:gd name="connsiteX7" fmla="*/ 1 w 6552729"/>
                <a:gd name="connsiteY7" fmla="*/ 119545 h 617167"/>
                <a:gd name="connsiteX0" fmla="*/ 1 w 6554071"/>
                <a:gd name="connsiteY0" fmla="*/ 119545 h 617167"/>
                <a:gd name="connsiteX1" fmla="*/ 6552729 w 6554071"/>
                <a:gd name="connsiteY1" fmla="*/ 119545 h 617167"/>
                <a:gd name="connsiteX2" fmla="*/ 6554071 w 6554071"/>
                <a:gd name="connsiteY2" fmla="*/ 318363 h 617167"/>
                <a:gd name="connsiteX3" fmla="*/ 6552729 w 6554071"/>
                <a:gd name="connsiteY3" fmla="*/ 480091 h 617167"/>
                <a:gd name="connsiteX4" fmla="*/ 1 w 6554071"/>
                <a:gd name="connsiteY4" fmla="*/ 480091 h 617167"/>
                <a:gd name="connsiteX5" fmla="*/ 0 w 6554071"/>
                <a:gd name="connsiteY5" fmla="*/ 407577 h 617167"/>
                <a:gd name="connsiteX6" fmla="*/ 353525 w 6554071"/>
                <a:gd name="connsiteY6" fmla="*/ 329376 h 617167"/>
                <a:gd name="connsiteX7" fmla="*/ 0 w 6554071"/>
                <a:gd name="connsiteY7" fmla="*/ 191553 h 617167"/>
                <a:gd name="connsiteX8" fmla="*/ 1 w 6554071"/>
                <a:gd name="connsiteY8" fmla="*/ 119545 h 617167"/>
                <a:gd name="connsiteX0" fmla="*/ 1 w 7645074"/>
                <a:gd name="connsiteY0" fmla="*/ 119545 h 617167"/>
                <a:gd name="connsiteX1" fmla="*/ 6552729 w 7645074"/>
                <a:gd name="connsiteY1" fmla="*/ 119545 h 617167"/>
                <a:gd name="connsiteX2" fmla="*/ 6554071 w 7645074"/>
                <a:gd name="connsiteY2" fmla="*/ 187394 h 617167"/>
                <a:gd name="connsiteX3" fmla="*/ 6554071 w 7645074"/>
                <a:gd name="connsiteY3" fmla="*/ 318363 h 617167"/>
                <a:gd name="connsiteX4" fmla="*/ 6552729 w 7645074"/>
                <a:gd name="connsiteY4" fmla="*/ 480091 h 617167"/>
                <a:gd name="connsiteX5" fmla="*/ 1 w 7645074"/>
                <a:gd name="connsiteY5" fmla="*/ 480091 h 617167"/>
                <a:gd name="connsiteX6" fmla="*/ 0 w 7645074"/>
                <a:gd name="connsiteY6" fmla="*/ 407577 h 617167"/>
                <a:gd name="connsiteX7" fmla="*/ 353525 w 7645074"/>
                <a:gd name="connsiteY7" fmla="*/ 329376 h 617167"/>
                <a:gd name="connsiteX8" fmla="*/ 0 w 7645074"/>
                <a:gd name="connsiteY8" fmla="*/ 191553 h 617167"/>
                <a:gd name="connsiteX9" fmla="*/ 1 w 7645074"/>
                <a:gd name="connsiteY9"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54071 w 6554295"/>
                <a:gd name="connsiteY3" fmla="*/ 318363 h 617167"/>
                <a:gd name="connsiteX4" fmla="*/ 6552729 w 6554295"/>
                <a:gd name="connsiteY4" fmla="*/ 480091 h 617167"/>
                <a:gd name="connsiteX5" fmla="*/ 1 w 6554295"/>
                <a:gd name="connsiteY5" fmla="*/ 480091 h 617167"/>
                <a:gd name="connsiteX6" fmla="*/ 0 w 6554295"/>
                <a:gd name="connsiteY6" fmla="*/ 407577 h 617167"/>
                <a:gd name="connsiteX7" fmla="*/ 353525 w 6554295"/>
                <a:gd name="connsiteY7" fmla="*/ 329376 h 617167"/>
                <a:gd name="connsiteX8" fmla="*/ 0 w 6554295"/>
                <a:gd name="connsiteY8" fmla="*/ 191553 h 617167"/>
                <a:gd name="connsiteX9" fmla="*/ 1 w 6554295"/>
                <a:gd name="connsiteY9" fmla="*/ 119545 h 617167"/>
                <a:gd name="connsiteX0" fmla="*/ 1 w 7644654"/>
                <a:gd name="connsiteY0" fmla="*/ 119545 h 617167"/>
                <a:gd name="connsiteX1" fmla="*/ 6552729 w 7644654"/>
                <a:gd name="connsiteY1" fmla="*/ 119545 h 617167"/>
                <a:gd name="connsiteX2" fmla="*/ 6554071 w 7644654"/>
                <a:gd name="connsiteY2" fmla="*/ 187394 h 617167"/>
                <a:gd name="connsiteX3" fmla="*/ 6554071 w 7644654"/>
                <a:gd name="connsiteY3" fmla="*/ 318363 h 617167"/>
                <a:gd name="connsiteX4" fmla="*/ 6551550 w 7644654"/>
                <a:gd name="connsiteY4" fmla="*/ 413613 h 617167"/>
                <a:gd name="connsiteX5" fmla="*/ 6552729 w 7644654"/>
                <a:gd name="connsiteY5" fmla="*/ 480091 h 617167"/>
                <a:gd name="connsiteX6" fmla="*/ 1 w 7644654"/>
                <a:gd name="connsiteY6" fmla="*/ 480091 h 617167"/>
                <a:gd name="connsiteX7" fmla="*/ 0 w 7644654"/>
                <a:gd name="connsiteY7" fmla="*/ 407577 h 617167"/>
                <a:gd name="connsiteX8" fmla="*/ 353525 w 7644654"/>
                <a:gd name="connsiteY8" fmla="*/ 329376 h 617167"/>
                <a:gd name="connsiteX9" fmla="*/ 0 w 7644654"/>
                <a:gd name="connsiteY9" fmla="*/ 191553 h 617167"/>
                <a:gd name="connsiteX10" fmla="*/ 1 w 7644654"/>
                <a:gd name="connsiteY10"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54071 w 6554295"/>
                <a:gd name="connsiteY3" fmla="*/ 318363 h 617167"/>
                <a:gd name="connsiteX4" fmla="*/ 6551550 w 6554295"/>
                <a:gd name="connsiteY4" fmla="*/ 413613 h 617167"/>
                <a:gd name="connsiteX5" fmla="*/ 6552729 w 6554295"/>
                <a:gd name="connsiteY5" fmla="*/ 480091 h 617167"/>
                <a:gd name="connsiteX6" fmla="*/ 1 w 6554295"/>
                <a:gd name="connsiteY6" fmla="*/ 480091 h 617167"/>
                <a:gd name="connsiteX7" fmla="*/ 0 w 6554295"/>
                <a:gd name="connsiteY7" fmla="*/ 407577 h 617167"/>
                <a:gd name="connsiteX8" fmla="*/ 353525 w 6554295"/>
                <a:gd name="connsiteY8" fmla="*/ 329376 h 617167"/>
                <a:gd name="connsiteX9" fmla="*/ 0 w 6554295"/>
                <a:gd name="connsiteY9" fmla="*/ 191553 h 617167"/>
                <a:gd name="connsiteX10" fmla="*/ 1 w 6554295"/>
                <a:gd name="connsiteY10"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46562 w 6554295"/>
                <a:gd name="connsiteY3" fmla="*/ 354776 h 617167"/>
                <a:gd name="connsiteX4" fmla="*/ 6551550 w 6554295"/>
                <a:gd name="connsiteY4" fmla="*/ 413613 h 617167"/>
                <a:gd name="connsiteX5" fmla="*/ 6552729 w 6554295"/>
                <a:gd name="connsiteY5" fmla="*/ 480091 h 617167"/>
                <a:gd name="connsiteX6" fmla="*/ 1 w 6554295"/>
                <a:gd name="connsiteY6" fmla="*/ 480091 h 617167"/>
                <a:gd name="connsiteX7" fmla="*/ 0 w 6554295"/>
                <a:gd name="connsiteY7" fmla="*/ 407577 h 617167"/>
                <a:gd name="connsiteX8" fmla="*/ 353525 w 6554295"/>
                <a:gd name="connsiteY8" fmla="*/ 329376 h 617167"/>
                <a:gd name="connsiteX9" fmla="*/ 0 w 6554295"/>
                <a:gd name="connsiteY9" fmla="*/ 191553 h 617167"/>
                <a:gd name="connsiteX10" fmla="*/ 1 w 6554295"/>
                <a:gd name="connsiteY10" fmla="*/ 119545 h 617167"/>
                <a:gd name="connsiteX0" fmla="*/ 1 w 6554071"/>
                <a:gd name="connsiteY0" fmla="*/ 119545 h 617167"/>
                <a:gd name="connsiteX1" fmla="*/ 6552729 w 6554071"/>
                <a:gd name="connsiteY1" fmla="*/ 119545 h 617167"/>
                <a:gd name="connsiteX2" fmla="*/ 6554071 w 6554071"/>
                <a:gd name="connsiteY2" fmla="*/ 187394 h 617167"/>
                <a:gd name="connsiteX3" fmla="*/ 6551550 w 6554071"/>
                <a:gd name="connsiteY3" fmla="*/ 413613 h 617167"/>
                <a:gd name="connsiteX4" fmla="*/ 6552729 w 6554071"/>
                <a:gd name="connsiteY4" fmla="*/ 480091 h 617167"/>
                <a:gd name="connsiteX5" fmla="*/ 1 w 6554071"/>
                <a:gd name="connsiteY5" fmla="*/ 480091 h 617167"/>
                <a:gd name="connsiteX6" fmla="*/ 0 w 6554071"/>
                <a:gd name="connsiteY6" fmla="*/ 407577 h 617167"/>
                <a:gd name="connsiteX7" fmla="*/ 353525 w 6554071"/>
                <a:gd name="connsiteY7" fmla="*/ 329376 h 617167"/>
                <a:gd name="connsiteX8" fmla="*/ 0 w 6554071"/>
                <a:gd name="connsiteY8" fmla="*/ 191553 h 617167"/>
                <a:gd name="connsiteX9" fmla="*/ 1 w 6554071"/>
                <a:gd name="connsiteY9" fmla="*/ 119545 h 617167"/>
                <a:gd name="connsiteX0" fmla="*/ 1 w 6554071"/>
                <a:gd name="connsiteY0" fmla="*/ 119545 h 617167"/>
                <a:gd name="connsiteX1" fmla="*/ 6552729 w 6554071"/>
                <a:gd name="connsiteY1" fmla="*/ 119545 h 617167"/>
                <a:gd name="connsiteX2" fmla="*/ 6554071 w 6554071"/>
                <a:gd name="connsiteY2" fmla="*/ 187394 h 617167"/>
                <a:gd name="connsiteX3" fmla="*/ 6551550 w 6554071"/>
                <a:gd name="connsiteY3" fmla="*/ 287406 h 617167"/>
                <a:gd name="connsiteX4" fmla="*/ 6551550 w 6554071"/>
                <a:gd name="connsiteY4" fmla="*/ 413613 h 617167"/>
                <a:gd name="connsiteX5" fmla="*/ 6552729 w 6554071"/>
                <a:gd name="connsiteY5" fmla="*/ 480091 h 617167"/>
                <a:gd name="connsiteX6" fmla="*/ 1 w 6554071"/>
                <a:gd name="connsiteY6" fmla="*/ 480091 h 617167"/>
                <a:gd name="connsiteX7" fmla="*/ 0 w 6554071"/>
                <a:gd name="connsiteY7" fmla="*/ 407577 h 617167"/>
                <a:gd name="connsiteX8" fmla="*/ 353525 w 6554071"/>
                <a:gd name="connsiteY8" fmla="*/ 329376 h 617167"/>
                <a:gd name="connsiteX9" fmla="*/ 0 w 6554071"/>
                <a:gd name="connsiteY9" fmla="*/ 191553 h 617167"/>
                <a:gd name="connsiteX10" fmla="*/ 1 w 6554071"/>
                <a:gd name="connsiteY10" fmla="*/ 119545 h 617167"/>
                <a:gd name="connsiteX0" fmla="*/ 1 w 6927998"/>
                <a:gd name="connsiteY0" fmla="*/ 119545 h 617167"/>
                <a:gd name="connsiteX1" fmla="*/ 6552729 w 6927998"/>
                <a:gd name="connsiteY1" fmla="*/ 119545 h 617167"/>
                <a:gd name="connsiteX2" fmla="*/ 6554071 w 6927998"/>
                <a:gd name="connsiteY2" fmla="*/ 187394 h 617167"/>
                <a:gd name="connsiteX3" fmla="*/ 6927578 w 6927998"/>
                <a:gd name="connsiteY3" fmla="*/ 282768 h 617167"/>
                <a:gd name="connsiteX4" fmla="*/ 6551550 w 6927998"/>
                <a:gd name="connsiteY4" fmla="*/ 413613 h 617167"/>
                <a:gd name="connsiteX5" fmla="*/ 6552729 w 6927998"/>
                <a:gd name="connsiteY5" fmla="*/ 480091 h 617167"/>
                <a:gd name="connsiteX6" fmla="*/ 1 w 6927998"/>
                <a:gd name="connsiteY6" fmla="*/ 480091 h 617167"/>
                <a:gd name="connsiteX7" fmla="*/ 0 w 6927998"/>
                <a:gd name="connsiteY7" fmla="*/ 407577 h 617167"/>
                <a:gd name="connsiteX8" fmla="*/ 353525 w 6927998"/>
                <a:gd name="connsiteY8" fmla="*/ 329376 h 617167"/>
                <a:gd name="connsiteX9" fmla="*/ 0 w 6927998"/>
                <a:gd name="connsiteY9" fmla="*/ 191553 h 617167"/>
                <a:gd name="connsiteX10" fmla="*/ 1 w 6927998"/>
                <a:gd name="connsiteY10" fmla="*/ 119545 h 617167"/>
                <a:gd name="connsiteX0" fmla="*/ 1 w 6929967"/>
                <a:gd name="connsiteY0" fmla="*/ 119545 h 617167"/>
                <a:gd name="connsiteX1" fmla="*/ 6552729 w 6929967"/>
                <a:gd name="connsiteY1" fmla="*/ 119545 h 617167"/>
                <a:gd name="connsiteX2" fmla="*/ 6554071 w 6929967"/>
                <a:gd name="connsiteY2" fmla="*/ 187394 h 617167"/>
                <a:gd name="connsiteX3" fmla="*/ 6927578 w 6929967"/>
                <a:gd name="connsiteY3" fmla="*/ 282768 h 617167"/>
                <a:gd name="connsiteX4" fmla="*/ 6551550 w 6929967"/>
                <a:gd name="connsiteY4" fmla="*/ 413613 h 617167"/>
                <a:gd name="connsiteX5" fmla="*/ 6552729 w 6929967"/>
                <a:gd name="connsiteY5" fmla="*/ 480091 h 617167"/>
                <a:gd name="connsiteX6" fmla="*/ 1 w 6929967"/>
                <a:gd name="connsiteY6" fmla="*/ 480091 h 617167"/>
                <a:gd name="connsiteX7" fmla="*/ 0 w 6929967"/>
                <a:gd name="connsiteY7" fmla="*/ 407577 h 617167"/>
                <a:gd name="connsiteX8" fmla="*/ 353525 w 6929967"/>
                <a:gd name="connsiteY8" fmla="*/ 329376 h 617167"/>
                <a:gd name="connsiteX9" fmla="*/ 0 w 6929967"/>
                <a:gd name="connsiteY9" fmla="*/ 191553 h 617167"/>
                <a:gd name="connsiteX10" fmla="*/ 1 w 6929967"/>
                <a:gd name="connsiteY10" fmla="*/ 119545 h 617167"/>
                <a:gd name="connsiteX0" fmla="*/ 1 w 6941727"/>
                <a:gd name="connsiteY0" fmla="*/ 119545 h 617167"/>
                <a:gd name="connsiteX1" fmla="*/ 6552729 w 6941727"/>
                <a:gd name="connsiteY1" fmla="*/ 119545 h 617167"/>
                <a:gd name="connsiteX2" fmla="*/ 6554071 w 6941727"/>
                <a:gd name="connsiteY2" fmla="*/ 187394 h 617167"/>
                <a:gd name="connsiteX3" fmla="*/ 6927578 w 6941727"/>
                <a:gd name="connsiteY3" fmla="*/ 282768 h 617167"/>
                <a:gd name="connsiteX4" fmla="*/ 6551550 w 6941727"/>
                <a:gd name="connsiteY4" fmla="*/ 413613 h 617167"/>
                <a:gd name="connsiteX5" fmla="*/ 6552729 w 6941727"/>
                <a:gd name="connsiteY5" fmla="*/ 480091 h 617167"/>
                <a:gd name="connsiteX6" fmla="*/ 1 w 6941727"/>
                <a:gd name="connsiteY6" fmla="*/ 480091 h 617167"/>
                <a:gd name="connsiteX7" fmla="*/ 0 w 6941727"/>
                <a:gd name="connsiteY7" fmla="*/ 407577 h 617167"/>
                <a:gd name="connsiteX8" fmla="*/ 353525 w 6941727"/>
                <a:gd name="connsiteY8" fmla="*/ 329376 h 617167"/>
                <a:gd name="connsiteX9" fmla="*/ 0 w 6941727"/>
                <a:gd name="connsiteY9" fmla="*/ 191553 h 617167"/>
                <a:gd name="connsiteX10" fmla="*/ 1 w 6941727"/>
                <a:gd name="connsiteY10" fmla="*/ 119545 h 617167"/>
                <a:gd name="connsiteX0" fmla="*/ 1 w 6892955"/>
                <a:gd name="connsiteY0" fmla="*/ 119545 h 617167"/>
                <a:gd name="connsiteX1" fmla="*/ 6552729 w 6892955"/>
                <a:gd name="connsiteY1" fmla="*/ 119545 h 617167"/>
                <a:gd name="connsiteX2" fmla="*/ 6554071 w 6892955"/>
                <a:gd name="connsiteY2" fmla="*/ 187394 h 617167"/>
                <a:gd name="connsiteX3" fmla="*/ 6878806 w 6892955"/>
                <a:gd name="connsiteY3" fmla="*/ 285156 h 617167"/>
                <a:gd name="connsiteX4" fmla="*/ 6551550 w 6892955"/>
                <a:gd name="connsiteY4" fmla="*/ 413613 h 617167"/>
                <a:gd name="connsiteX5" fmla="*/ 6552729 w 6892955"/>
                <a:gd name="connsiteY5" fmla="*/ 480091 h 617167"/>
                <a:gd name="connsiteX6" fmla="*/ 1 w 6892955"/>
                <a:gd name="connsiteY6" fmla="*/ 480091 h 617167"/>
                <a:gd name="connsiteX7" fmla="*/ 0 w 6892955"/>
                <a:gd name="connsiteY7" fmla="*/ 407577 h 617167"/>
                <a:gd name="connsiteX8" fmla="*/ 353525 w 6892955"/>
                <a:gd name="connsiteY8" fmla="*/ 329376 h 617167"/>
                <a:gd name="connsiteX9" fmla="*/ 0 w 6892955"/>
                <a:gd name="connsiteY9" fmla="*/ 191553 h 617167"/>
                <a:gd name="connsiteX10" fmla="*/ 1 w 6892955"/>
                <a:gd name="connsiteY10" fmla="*/ 119545 h 617167"/>
                <a:gd name="connsiteX0" fmla="*/ 1 w 6829263"/>
                <a:gd name="connsiteY0" fmla="*/ 119545 h 617167"/>
                <a:gd name="connsiteX1" fmla="*/ 6552729 w 6829263"/>
                <a:gd name="connsiteY1" fmla="*/ 119545 h 617167"/>
                <a:gd name="connsiteX2" fmla="*/ 6554071 w 6829263"/>
                <a:gd name="connsiteY2" fmla="*/ 187394 h 617167"/>
                <a:gd name="connsiteX3" fmla="*/ 6815114 w 6829263"/>
                <a:gd name="connsiteY3" fmla="*/ 285156 h 617167"/>
                <a:gd name="connsiteX4" fmla="*/ 6551550 w 6829263"/>
                <a:gd name="connsiteY4" fmla="*/ 413613 h 617167"/>
                <a:gd name="connsiteX5" fmla="*/ 6552729 w 6829263"/>
                <a:gd name="connsiteY5" fmla="*/ 480091 h 617167"/>
                <a:gd name="connsiteX6" fmla="*/ 1 w 6829263"/>
                <a:gd name="connsiteY6" fmla="*/ 480091 h 617167"/>
                <a:gd name="connsiteX7" fmla="*/ 0 w 6829263"/>
                <a:gd name="connsiteY7" fmla="*/ 407577 h 617167"/>
                <a:gd name="connsiteX8" fmla="*/ 353525 w 6829263"/>
                <a:gd name="connsiteY8" fmla="*/ 329376 h 617167"/>
                <a:gd name="connsiteX9" fmla="*/ 0 w 6829263"/>
                <a:gd name="connsiteY9" fmla="*/ 191553 h 617167"/>
                <a:gd name="connsiteX10" fmla="*/ 1 w 6829263"/>
                <a:gd name="connsiteY10" fmla="*/ 119545 h 617167"/>
                <a:gd name="connsiteX0" fmla="*/ 1 w 6829262"/>
                <a:gd name="connsiteY0" fmla="*/ 119545 h 617167"/>
                <a:gd name="connsiteX1" fmla="*/ 6552729 w 6829262"/>
                <a:gd name="connsiteY1" fmla="*/ 119545 h 617167"/>
                <a:gd name="connsiteX2" fmla="*/ 6554071 w 6829262"/>
                <a:gd name="connsiteY2" fmla="*/ 187394 h 617167"/>
                <a:gd name="connsiteX3" fmla="*/ 6815113 w 6829262"/>
                <a:gd name="connsiteY3" fmla="*/ 285156 h 617167"/>
                <a:gd name="connsiteX4" fmla="*/ 6551550 w 6829262"/>
                <a:gd name="connsiteY4" fmla="*/ 413613 h 617167"/>
                <a:gd name="connsiteX5" fmla="*/ 6552729 w 6829262"/>
                <a:gd name="connsiteY5" fmla="*/ 480091 h 617167"/>
                <a:gd name="connsiteX6" fmla="*/ 1 w 6829262"/>
                <a:gd name="connsiteY6" fmla="*/ 480091 h 617167"/>
                <a:gd name="connsiteX7" fmla="*/ 0 w 6829262"/>
                <a:gd name="connsiteY7" fmla="*/ 407577 h 617167"/>
                <a:gd name="connsiteX8" fmla="*/ 353525 w 6829262"/>
                <a:gd name="connsiteY8" fmla="*/ 329376 h 617167"/>
                <a:gd name="connsiteX9" fmla="*/ 0 w 6829262"/>
                <a:gd name="connsiteY9" fmla="*/ 191553 h 617167"/>
                <a:gd name="connsiteX10" fmla="*/ 1 w 6829262"/>
                <a:gd name="connsiteY10" fmla="*/ 119545 h 617167"/>
                <a:gd name="connsiteX0" fmla="*/ 1 w 6829262"/>
                <a:gd name="connsiteY0" fmla="*/ 91149 h 617167"/>
                <a:gd name="connsiteX1" fmla="*/ 6552729 w 6829262"/>
                <a:gd name="connsiteY1" fmla="*/ 91149 h 617167"/>
                <a:gd name="connsiteX2" fmla="*/ 6554071 w 6829262"/>
                <a:gd name="connsiteY2" fmla="*/ 158998 h 617167"/>
                <a:gd name="connsiteX3" fmla="*/ 6815113 w 6829262"/>
                <a:gd name="connsiteY3" fmla="*/ 256760 h 617167"/>
                <a:gd name="connsiteX4" fmla="*/ 6551550 w 6829262"/>
                <a:gd name="connsiteY4" fmla="*/ 385217 h 617167"/>
                <a:gd name="connsiteX5" fmla="*/ 6552729 w 6829262"/>
                <a:gd name="connsiteY5" fmla="*/ 451695 h 617167"/>
                <a:gd name="connsiteX6" fmla="*/ 1 w 6829262"/>
                <a:gd name="connsiteY6" fmla="*/ 451695 h 617167"/>
                <a:gd name="connsiteX7" fmla="*/ 0 w 6829262"/>
                <a:gd name="connsiteY7" fmla="*/ 379181 h 617167"/>
                <a:gd name="connsiteX8" fmla="*/ 318530 w 6829262"/>
                <a:gd name="connsiteY8" fmla="*/ 329376 h 617167"/>
                <a:gd name="connsiteX9" fmla="*/ 0 w 6829262"/>
                <a:gd name="connsiteY9" fmla="*/ 163157 h 617167"/>
                <a:gd name="connsiteX10" fmla="*/ 1 w 6829262"/>
                <a:gd name="connsiteY10" fmla="*/ 91149 h 617167"/>
                <a:gd name="connsiteX0" fmla="*/ 1 w 6829262"/>
                <a:gd name="connsiteY0" fmla="*/ 91149 h 565801"/>
                <a:gd name="connsiteX1" fmla="*/ 6552729 w 6829262"/>
                <a:gd name="connsiteY1" fmla="*/ 91149 h 565801"/>
                <a:gd name="connsiteX2" fmla="*/ 6554071 w 6829262"/>
                <a:gd name="connsiteY2" fmla="*/ 158998 h 565801"/>
                <a:gd name="connsiteX3" fmla="*/ 6815113 w 6829262"/>
                <a:gd name="connsiteY3" fmla="*/ 256760 h 565801"/>
                <a:gd name="connsiteX4" fmla="*/ 6551550 w 6829262"/>
                <a:gd name="connsiteY4" fmla="*/ 385217 h 565801"/>
                <a:gd name="connsiteX5" fmla="*/ 6552729 w 6829262"/>
                <a:gd name="connsiteY5" fmla="*/ 451695 h 565801"/>
                <a:gd name="connsiteX6" fmla="*/ 1 w 6829262"/>
                <a:gd name="connsiteY6" fmla="*/ 451695 h 565801"/>
                <a:gd name="connsiteX7" fmla="*/ 0 w 6829262"/>
                <a:gd name="connsiteY7" fmla="*/ 379181 h 565801"/>
                <a:gd name="connsiteX8" fmla="*/ 318530 w 6829262"/>
                <a:gd name="connsiteY8" fmla="*/ 329376 h 565801"/>
                <a:gd name="connsiteX9" fmla="*/ 0 w 6829262"/>
                <a:gd name="connsiteY9" fmla="*/ 163157 h 565801"/>
                <a:gd name="connsiteX10" fmla="*/ 1 w 6829262"/>
                <a:gd name="connsiteY10" fmla="*/ 91149 h 565801"/>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29262" h="565800">
                  <a:moveTo>
                    <a:pt x="1" y="91148"/>
                  </a:moveTo>
                  <a:lnTo>
                    <a:pt x="6552729" y="91148"/>
                  </a:lnTo>
                  <a:cubicBezTo>
                    <a:pt x="6553176" y="113764"/>
                    <a:pt x="6553624" y="136381"/>
                    <a:pt x="6554071" y="158997"/>
                  </a:cubicBezTo>
                  <a:cubicBezTo>
                    <a:pt x="6553875" y="186974"/>
                    <a:pt x="6817502" y="5190"/>
                    <a:pt x="6815113" y="256759"/>
                  </a:cubicBezTo>
                  <a:cubicBezTo>
                    <a:pt x="6829262" y="565800"/>
                    <a:pt x="6551354" y="353102"/>
                    <a:pt x="6551550" y="385216"/>
                  </a:cubicBezTo>
                  <a:lnTo>
                    <a:pt x="6552729" y="451694"/>
                  </a:lnTo>
                  <a:lnTo>
                    <a:pt x="1" y="451694"/>
                  </a:lnTo>
                  <a:cubicBezTo>
                    <a:pt x="1" y="427523"/>
                    <a:pt x="0" y="403351"/>
                    <a:pt x="0" y="379180"/>
                  </a:cubicBezTo>
                  <a:cubicBezTo>
                    <a:pt x="37811" y="297513"/>
                    <a:pt x="211380" y="509276"/>
                    <a:pt x="318530" y="329376"/>
                  </a:cubicBezTo>
                  <a:cubicBezTo>
                    <a:pt x="309846" y="0"/>
                    <a:pt x="81664" y="248005"/>
                    <a:pt x="0" y="163156"/>
                  </a:cubicBezTo>
                  <a:cubicBezTo>
                    <a:pt x="0" y="139153"/>
                    <a:pt x="1" y="115151"/>
                    <a:pt x="1" y="9114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Market</a:t>
              </a:r>
              <a:endParaRPr lang="en-US" sz="900" b="1" dirty="0"/>
            </a:p>
          </p:txBody>
        </p:sp>
        <p:sp>
          <p:nvSpPr>
            <p:cNvPr id="80" name="Rechteck 79"/>
            <p:cNvSpPr/>
            <p:nvPr/>
          </p:nvSpPr>
          <p:spPr>
            <a:xfrm>
              <a:off x="9273520" y="1201073"/>
              <a:ext cx="360000" cy="41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ctr"/>
            <a:lstStyle/>
            <a:p>
              <a:pPr algn="ctr"/>
              <a:r>
                <a:rPr lang="en-US" sz="900" b="1" dirty="0" smtClean="0"/>
                <a:t>Core statement/Conclusive valuation</a:t>
              </a:r>
              <a:endParaRPr lang="en-US" sz="900" b="1" dirty="0"/>
            </a:p>
          </p:txBody>
        </p:sp>
        <p:grpSp>
          <p:nvGrpSpPr>
            <p:cNvPr id="81" name="Gruppieren 42"/>
            <p:cNvGrpSpPr>
              <a:grpSpLocks noChangeAspect="1"/>
            </p:cNvGrpSpPr>
            <p:nvPr/>
          </p:nvGrpSpPr>
          <p:grpSpPr>
            <a:xfrm>
              <a:off x="834859" y="1844824"/>
              <a:ext cx="7380199" cy="2872297"/>
              <a:chOff x="789797" y="2313176"/>
              <a:chExt cx="6937499" cy="2700000"/>
            </a:xfrm>
          </p:grpSpPr>
          <p:sp>
            <p:nvSpPr>
              <p:cNvPr id="82" name="Freihandform 81"/>
              <p:cNvSpPr/>
              <p:nvPr/>
            </p:nvSpPr>
            <p:spPr>
              <a:xfrm rot="5400000">
                <a:off x="2657894" y="1866186"/>
                <a:ext cx="879800" cy="183820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3" name="Freihandform 82"/>
              <p:cNvSpPr/>
              <p:nvPr/>
            </p:nvSpPr>
            <p:spPr>
              <a:xfrm rot="5400000">
                <a:off x="1069723" y="2901976"/>
                <a:ext cx="1408284" cy="1461725"/>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17" fmla="*/ 0 w 2192141"/>
                  <a:gd name="connsiteY17" fmla="*/ 162781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0 w 2198491"/>
                  <a:gd name="connsiteY16" fmla="*/ 1837360 h 3528490"/>
                  <a:gd name="connsiteX17" fmla="*/ 24172 w 2198491"/>
                  <a:gd name="connsiteY17" fmla="*/ 717940 h 3528490"/>
                  <a:gd name="connsiteX18" fmla="*/ 6350 w 2198491"/>
                  <a:gd name="connsiteY18" fmla="*/ 1627810 h 3528490"/>
                  <a:gd name="connsiteX19" fmla="*/ 24172 w 2198491"/>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24171 w 2198490"/>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1 w 2198491"/>
                  <a:gd name="connsiteY16" fmla="*/ 1893470 h 3528490"/>
                  <a:gd name="connsiteX17" fmla="*/ 24172 w 2198491"/>
                  <a:gd name="connsiteY17" fmla="*/ 717940 h 3528490"/>
                  <a:gd name="connsiteX18" fmla="*/ 1 w 2198491"/>
                  <a:gd name="connsiteY18" fmla="*/ 1383687 h 3528490"/>
                  <a:gd name="connsiteX19" fmla="*/ 12700 w 2198491"/>
                  <a:gd name="connsiteY19" fmla="*/ 1545260 h 3528490"/>
                  <a:gd name="connsiteX20" fmla="*/ 0 w 2198491"/>
                  <a:gd name="connsiteY20" fmla="*/ 1443660 h 3528490"/>
                  <a:gd name="connsiteX21" fmla="*/ 24172 w 2198491"/>
                  <a:gd name="connsiteY21"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533420 h 3528490"/>
                  <a:gd name="connsiteX19" fmla="*/ 12699 w 2198490"/>
                  <a:gd name="connsiteY19" fmla="*/ 1545260 h 3528490"/>
                  <a:gd name="connsiteX20" fmla="*/ 24171 w 2198490"/>
                  <a:gd name="connsiteY20" fmla="*/ 717940 h 3528490"/>
                  <a:gd name="connsiteX0" fmla="*/ 27141 w 2201460"/>
                  <a:gd name="connsiteY0" fmla="*/ 717940 h 3528490"/>
                  <a:gd name="connsiteX1" fmla="*/ 819254 w 2201460"/>
                  <a:gd name="connsiteY1" fmla="*/ 717940 h 3528490"/>
                  <a:gd name="connsiteX2" fmla="*/ 1107293 w 2201460"/>
                  <a:gd name="connsiteY2" fmla="*/ 0 h 3528490"/>
                  <a:gd name="connsiteX3" fmla="*/ 1409352 w 2201460"/>
                  <a:gd name="connsiteY3" fmla="*/ 726242 h 3528490"/>
                  <a:gd name="connsiteX4" fmla="*/ 2187441 w 2201460"/>
                  <a:gd name="connsiteY4" fmla="*/ 717940 h 3528490"/>
                  <a:gd name="connsiteX5" fmla="*/ 2201460 w 2201460"/>
                  <a:gd name="connsiteY5" fmla="*/ 1438040 h 3528490"/>
                  <a:gd name="connsiteX6" fmla="*/ 2201460 w 2201460"/>
                  <a:gd name="connsiteY6" fmla="*/ 1510050 h 3528490"/>
                  <a:gd name="connsiteX7" fmla="*/ 1539349 w 2201460"/>
                  <a:gd name="connsiteY7" fmla="*/ 1798090 h 3528490"/>
                  <a:gd name="connsiteX8" fmla="*/ 2201460 w 2201460"/>
                  <a:gd name="connsiteY8" fmla="*/ 2086130 h 3528490"/>
                  <a:gd name="connsiteX9" fmla="*/ 2189366 w 2201460"/>
                  <a:gd name="connsiteY9" fmla="*/ 2878240 h 3528490"/>
                  <a:gd name="connsiteX10" fmla="*/ 2187441 w 2201460"/>
                  <a:gd name="connsiteY10" fmla="*/ 2878240 h 3528490"/>
                  <a:gd name="connsiteX11" fmla="*/ 1395329 w 2201460"/>
                  <a:gd name="connsiteY11" fmla="*/ 2878240 h 3528490"/>
                  <a:gd name="connsiteX12" fmla="*/ 1107289 w 2201460"/>
                  <a:gd name="connsiteY12" fmla="*/ 3526330 h 3528490"/>
                  <a:gd name="connsiteX13" fmla="*/ 819249 w 2201460"/>
                  <a:gd name="connsiteY13" fmla="*/ 2880790 h 3528490"/>
                  <a:gd name="connsiteX14" fmla="*/ 27141 w 2201460"/>
                  <a:gd name="connsiteY14" fmla="*/ 2878240 h 3528490"/>
                  <a:gd name="connsiteX15" fmla="*/ 9320 w 2201460"/>
                  <a:gd name="connsiteY15" fmla="*/ 2037490 h 3528490"/>
                  <a:gd name="connsiteX16" fmla="*/ 2970 w 2201460"/>
                  <a:gd name="connsiteY16" fmla="*/ 1893470 h 3528490"/>
                  <a:gd name="connsiteX17" fmla="*/ 27141 w 2201460"/>
                  <a:gd name="connsiteY17" fmla="*/ 717940 h 3528490"/>
                  <a:gd name="connsiteX18" fmla="*/ 2970 w 2201460"/>
                  <a:gd name="connsiteY18" fmla="*/ 1533420 h 3528490"/>
                  <a:gd name="connsiteX19" fmla="*/ 9319 w 2201460"/>
                  <a:gd name="connsiteY19" fmla="*/ 1704010 h 3528490"/>
                  <a:gd name="connsiteX20" fmla="*/ 15669 w 2201460"/>
                  <a:gd name="connsiteY20" fmla="*/ 1545260 h 3528490"/>
                  <a:gd name="connsiteX21" fmla="*/ 27141 w 2201460"/>
                  <a:gd name="connsiteY21"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1912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0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4028 w 2204430"/>
                  <a:gd name="connsiteY16" fmla="*/ 189347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0 w 2204430"/>
                  <a:gd name="connsiteY16" fmla="*/ 182146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05936 w 2310366"/>
                  <a:gd name="connsiteY16" fmla="*/ 1821460 h 3528490"/>
                  <a:gd name="connsiteX17" fmla="*/ 136047 w 2310366"/>
                  <a:gd name="connsiteY17" fmla="*/ 717940 h 3528490"/>
                  <a:gd name="connsiteX18" fmla="*/ 111876 w 2310366"/>
                  <a:gd name="connsiteY18" fmla="*/ 1533420 h 3528490"/>
                  <a:gd name="connsiteX19" fmla="*/ 136047 w 2310366"/>
                  <a:gd name="connsiteY19"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36047 w 2310366"/>
                  <a:gd name="connsiteY16" fmla="*/ 717940 h 3528490"/>
                  <a:gd name="connsiteX17" fmla="*/ 111876 w 2310366"/>
                  <a:gd name="connsiteY17" fmla="*/ 1533420 h 3528490"/>
                  <a:gd name="connsiteX18" fmla="*/ 136047 w 2310366"/>
                  <a:gd name="connsiteY18"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03749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2699 w 2192140"/>
                  <a:gd name="connsiteY16" fmla="*/ 1557960 h 3528490"/>
                  <a:gd name="connsiteX17" fmla="*/ 17821 w 2192140"/>
                  <a:gd name="connsiteY17" fmla="*/ 717940 h 3528490"/>
                  <a:gd name="connsiteX18" fmla="*/ 17821 w 2192140"/>
                  <a:gd name="connsiteY18" fmla="*/ 717940 h 3528490"/>
                  <a:gd name="connsiteX0" fmla="*/ 549106 w 2723425"/>
                  <a:gd name="connsiteY0" fmla="*/ 717940 h 3528490"/>
                  <a:gd name="connsiteX1" fmla="*/ 1341219 w 2723425"/>
                  <a:gd name="connsiteY1" fmla="*/ 717940 h 3528490"/>
                  <a:gd name="connsiteX2" fmla="*/ 1629258 w 2723425"/>
                  <a:gd name="connsiteY2" fmla="*/ 0 h 3528490"/>
                  <a:gd name="connsiteX3" fmla="*/ 1931317 w 2723425"/>
                  <a:gd name="connsiteY3" fmla="*/ 726242 h 3528490"/>
                  <a:gd name="connsiteX4" fmla="*/ 2709406 w 2723425"/>
                  <a:gd name="connsiteY4" fmla="*/ 717940 h 3528490"/>
                  <a:gd name="connsiteX5" fmla="*/ 2723425 w 2723425"/>
                  <a:gd name="connsiteY5" fmla="*/ 1438040 h 3528490"/>
                  <a:gd name="connsiteX6" fmla="*/ 2723425 w 2723425"/>
                  <a:gd name="connsiteY6" fmla="*/ 1510050 h 3528490"/>
                  <a:gd name="connsiteX7" fmla="*/ 2061314 w 2723425"/>
                  <a:gd name="connsiteY7" fmla="*/ 1798090 h 3528490"/>
                  <a:gd name="connsiteX8" fmla="*/ 2723425 w 2723425"/>
                  <a:gd name="connsiteY8" fmla="*/ 2086130 h 3528490"/>
                  <a:gd name="connsiteX9" fmla="*/ 2711331 w 2723425"/>
                  <a:gd name="connsiteY9" fmla="*/ 2878240 h 3528490"/>
                  <a:gd name="connsiteX10" fmla="*/ 2709406 w 2723425"/>
                  <a:gd name="connsiteY10" fmla="*/ 2878240 h 3528490"/>
                  <a:gd name="connsiteX11" fmla="*/ 1917294 w 2723425"/>
                  <a:gd name="connsiteY11" fmla="*/ 2878240 h 3528490"/>
                  <a:gd name="connsiteX12" fmla="*/ 1629254 w 2723425"/>
                  <a:gd name="connsiteY12" fmla="*/ 3526330 h 3528490"/>
                  <a:gd name="connsiteX13" fmla="*/ 1341214 w 2723425"/>
                  <a:gd name="connsiteY13" fmla="*/ 2880790 h 3528490"/>
                  <a:gd name="connsiteX14" fmla="*/ 549106 w 2723425"/>
                  <a:gd name="connsiteY14" fmla="*/ 2878240 h 3528490"/>
                  <a:gd name="connsiteX15" fmla="*/ 531285 w 2723425"/>
                  <a:gd name="connsiteY15" fmla="*/ 2181510 h 3528490"/>
                  <a:gd name="connsiteX16" fmla="*/ 543984 w 2723425"/>
                  <a:gd name="connsiteY16" fmla="*/ 1557960 h 3528490"/>
                  <a:gd name="connsiteX17" fmla="*/ 549106 w 2723425"/>
                  <a:gd name="connsiteY17" fmla="*/ 717940 h 3528490"/>
                  <a:gd name="connsiteX18" fmla="*/ 549106 w 2723425"/>
                  <a:gd name="connsiteY18" fmla="*/ 717940 h 3528490"/>
                  <a:gd name="connsiteX0" fmla="*/ 232166 w 2406485"/>
                  <a:gd name="connsiteY0" fmla="*/ 717940 h 3528490"/>
                  <a:gd name="connsiteX1" fmla="*/ 1024279 w 2406485"/>
                  <a:gd name="connsiteY1" fmla="*/ 717940 h 3528490"/>
                  <a:gd name="connsiteX2" fmla="*/ 1312318 w 2406485"/>
                  <a:gd name="connsiteY2" fmla="*/ 0 h 3528490"/>
                  <a:gd name="connsiteX3" fmla="*/ 1614377 w 2406485"/>
                  <a:gd name="connsiteY3" fmla="*/ 726242 h 3528490"/>
                  <a:gd name="connsiteX4" fmla="*/ 2392466 w 2406485"/>
                  <a:gd name="connsiteY4" fmla="*/ 717940 h 3528490"/>
                  <a:gd name="connsiteX5" fmla="*/ 2406485 w 2406485"/>
                  <a:gd name="connsiteY5" fmla="*/ 1438040 h 3528490"/>
                  <a:gd name="connsiteX6" fmla="*/ 2406485 w 2406485"/>
                  <a:gd name="connsiteY6" fmla="*/ 1510050 h 3528490"/>
                  <a:gd name="connsiteX7" fmla="*/ 1744374 w 2406485"/>
                  <a:gd name="connsiteY7" fmla="*/ 1798090 h 3528490"/>
                  <a:gd name="connsiteX8" fmla="*/ 2406485 w 2406485"/>
                  <a:gd name="connsiteY8" fmla="*/ 2086130 h 3528490"/>
                  <a:gd name="connsiteX9" fmla="*/ 2394391 w 2406485"/>
                  <a:gd name="connsiteY9" fmla="*/ 2878240 h 3528490"/>
                  <a:gd name="connsiteX10" fmla="*/ 2392466 w 2406485"/>
                  <a:gd name="connsiteY10" fmla="*/ 2878240 h 3528490"/>
                  <a:gd name="connsiteX11" fmla="*/ 1600354 w 2406485"/>
                  <a:gd name="connsiteY11" fmla="*/ 2878240 h 3528490"/>
                  <a:gd name="connsiteX12" fmla="*/ 1312314 w 2406485"/>
                  <a:gd name="connsiteY12" fmla="*/ 3526330 h 3528490"/>
                  <a:gd name="connsiteX13" fmla="*/ 1024274 w 2406485"/>
                  <a:gd name="connsiteY13" fmla="*/ 2880790 h 3528490"/>
                  <a:gd name="connsiteX14" fmla="*/ 232166 w 2406485"/>
                  <a:gd name="connsiteY14" fmla="*/ 2878240 h 3528490"/>
                  <a:gd name="connsiteX15" fmla="*/ 214345 w 2406485"/>
                  <a:gd name="connsiteY15" fmla="*/ 2181510 h 3528490"/>
                  <a:gd name="connsiteX16" fmla="*/ 2116 w 2406485"/>
                  <a:gd name="connsiteY16" fmla="*/ 1821460 h 3528490"/>
                  <a:gd name="connsiteX17" fmla="*/ 227044 w 2406485"/>
                  <a:gd name="connsiteY17" fmla="*/ 1557960 h 3528490"/>
                  <a:gd name="connsiteX18" fmla="*/ 232166 w 2406485"/>
                  <a:gd name="connsiteY18" fmla="*/ 717940 h 3528490"/>
                  <a:gd name="connsiteX19" fmla="*/ 232166 w 2406485"/>
                  <a:gd name="connsiteY19" fmla="*/ 717940 h 3528490"/>
                  <a:gd name="connsiteX0" fmla="*/ 650389 w 2824708"/>
                  <a:gd name="connsiteY0" fmla="*/ 717940 h 3528490"/>
                  <a:gd name="connsiteX1" fmla="*/ 1442502 w 2824708"/>
                  <a:gd name="connsiteY1" fmla="*/ 717940 h 3528490"/>
                  <a:gd name="connsiteX2" fmla="*/ 1730541 w 2824708"/>
                  <a:gd name="connsiteY2" fmla="*/ 0 h 3528490"/>
                  <a:gd name="connsiteX3" fmla="*/ 2032600 w 2824708"/>
                  <a:gd name="connsiteY3" fmla="*/ 726242 h 3528490"/>
                  <a:gd name="connsiteX4" fmla="*/ 2810689 w 2824708"/>
                  <a:gd name="connsiteY4" fmla="*/ 717940 h 3528490"/>
                  <a:gd name="connsiteX5" fmla="*/ 2824708 w 2824708"/>
                  <a:gd name="connsiteY5" fmla="*/ 1438040 h 3528490"/>
                  <a:gd name="connsiteX6" fmla="*/ 2824708 w 2824708"/>
                  <a:gd name="connsiteY6" fmla="*/ 1510050 h 3528490"/>
                  <a:gd name="connsiteX7" fmla="*/ 2162597 w 2824708"/>
                  <a:gd name="connsiteY7" fmla="*/ 1798090 h 3528490"/>
                  <a:gd name="connsiteX8" fmla="*/ 2824708 w 2824708"/>
                  <a:gd name="connsiteY8" fmla="*/ 2086130 h 3528490"/>
                  <a:gd name="connsiteX9" fmla="*/ 2812614 w 2824708"/>
                  <a:gd name="connsiteY9" fmla="*/ 2878240 h 3528490"/>
                  <a:gd name="connsiteX10" fmla="*/ 2810689 w 2824708"/>
                  <a:gd name="connsiteY10" fmla="*/ 2878240 h 3528490"/>
                  <a:gd name="connsiteX11" fmla="*/ 2018577 w 2824708"/>
                  <a:gd name="connsiteY11" fmla="*/ 2878240 h 3528490"/>
                  <a:gd name="connsiteX12" fmla="*/ 1730537 w 2824708"/>
                  <a:gd name="connsiteY12" fmla="*/ 3526330 h 3528490"/>
                  <a:gd name="connsiteX13" fmla="*/ 1442497 w 2824708"/>
                  <a:gd name="connsiteY13" fmla="*/ 2880790 h 3528490"/>
                  <a:gd name="connsiteX14" fmla="*/ 650389 w 2824708"/>
                  <a:gd name="connsiteY14" fmla="*/ 2878240 h 3528490"/>
                  <a:gd name="connsiteX15" fmla="*/ 632568 w 2824708"/>
                  <a:gd name="connsiteY15" fmla="*/ 2181510 h 3528490"/>
                  <a:gd name="connsiteX16" fmla="*/ 2116 w 2824708"/>
                  <a:gd name="connsiteY16" fmla="*/ 1821460 h 3528490"/>
                  <a:gd name="connsiteX17" fmla="*/ 645267 w 2824708"/>
                  <a:gd name="connsiteY17" fmla="*/ 1557960 h 3528490"/>
                  <a:gd name="connsiteX18" fmla="*/ 650389 w 2824708"/>
                  <a:gd name="connsiteY18" fmla="*/ 717940 h 3528490"/>
                  <a:gd name="connsiteX19" fmla="*/ 650389 w 2824708"/>
                  <a:gd name="connsiteY19" fmla="*/ 717940 h 3528490"/>
                  <a:gd name="connsiteX0" fmla="*/ 649127 w 2823446"/>
                  <a:gd name="connsiteY0" fmla="*/ 717940 h 3528490"/>
                  <a:gd name="connsiteX1" fmla="*/ 1441240 w 2823446"/>
                  <a:gd name="connsiteY1" fmla="*/ 717940 h 3528490"/>
                  <a:gd name="connsiteX2" fmla="*/ 1729279 w 2823446"/>
                  <a:gd name="connsiteY2" fmla="*/ 0 h 3528490"/>
                  <a:gd name="connsiteX3" fmla="*/ 2031338 w 2823446"/>
                  <a:gd name="connsiteY3" fmla="*/ 726242 h 3528490"/>
                  <a:gd name="connsiteX4" fmla="*/ 2809427 w 2823446"/>
                  <a:gd name="connsiteY4" fmla="*/ 717940 h 3528490"/>
                  <a:gd name="connsiteX5" fmla="*/ 2823446 w 2823446"/>
                  <a:gd name="connsiteY5" fmla="*/ 1438040 h 3528490"/>
                  <a:gd name="connsiteX6" fmla="*/ 2823446 w 2823446"/>
                  <a:gd name="connsiteY6" fmla="*/ 1510050 h 3528490"/>
                  <a:gd name="connsiteX7" fmla="*/ 2161335 w 2823446"/>
                  <a:gd name="connsiteY7" fmla="*/ 1798090 h 3528490"/>
                  <a:gd name="connsiteX8" fmla="*/ 2823446 w 2823446"/>
                  <a:gd name="connsiteY8" fmla="*/ 2086130 h 3528490"/>
                  <a:gd name="connsiteX9" fmla="*/ 2811352 w 2823446"/>
                  <a:gd name="connsiteY9" fmla="*/ 2878240 h 3528490"/>
                  <a:gd name="connsiteX10" fmla="*/ 2809427 w 2823446"/>
                  <a:gd name="connsiteY10" fmla="*/ 2878240 h 3528490"/>
                  <a:gd name="connsiteX11" fmla="*/ 2017315 w 2823446"/>
                  <a:gd name="connsiteY11" fmla="*/ 2878240 h 3528490"/>
                  <a:gd name="connsiteX12" fmla="*/ 1729275 w 2823446"/>
                  <a:gd name="connsiteY12" fmla="*/ 3526330 h 3528490"/>
                  <a:gd name="connsiteX13" fmla="*/ 1441235 w 2823446"/>
                  <a:gd name="connsiteY13" fmla="*/ 2880790 h 3528490"/>
                  <a:gd name="connsiteX14" fmla="*/ 649127 w 2823446"/>
                  <a:gd name="connsiteY14" fmla="*/ 2878240 h 3528490"/>
                  <a:gd name="connsiteX15" fmla="*/ 649126 w 2823446"/>
                  <a:gd name="connsiteY15" fmla="*/ 2109500 h 3528490"/>
                  <a:gd name="connsiteX16" fmla="*/ 854 w 2823446"/>
                  <a:gd name="connsiteY16" fmla="*/ 1821460 h 3528490"/>
                  <a:gd name="connsiteX17" fmla="*/ 644005 w 2823446"/>
                  <a:gd name="connsiteY17" fmla="*/ 1557960 h 3528490"/>
                  <a:gd name="connsiteX18" fmla="*/ 649127 w 2823446"/>
                  <a:gd name="connsiteY18" fmla="*/ 717940 h 3528490"/>
                  <a:gd name="connsiteX19" fmla="*/ 649127 w 2823446"/>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75582"/>
                  <a:gd name="connsiteY0" fmla="*/ 717940 h 3528490"/>
                  <a:gd name="connsiteX1" fmla="*/ 1440386 w 3475582"/>
                  <a:gd name="connsiteY1" fmla="*/ 717940 h 3528490"/>
                  <a:gd name="connsiteX2" fmla="*/ 1728425 w 3475582"/>
                  <a:gd name="connsiteY2" fmla="*/ 0 h 3528490"/>
                  <a:gd name="connsiteX3" fmla="*/ 2030484 w 3475582"/>
                  <a:gd name="connsiteY3" fmla="*/ 726242 h 3528490"/>
                  <a:gd name="connsiteX4" fmla="*/ 2808573 w 3475582"/>
                  <a:gd name="connsiteY4" fmla="*/ 717940 h 3528490"/>
                  <a:gd name="connsiteX5" fmla="*/ 2822592 w 3475582"/>
                  <a:gd name="connsiteY5" fmla="*/ 1438040 h 3528490"/>
                  <a:gd name="connsiteX6" fmla="*/ 2822592 w 3475582"/>
                  <a:gd name="connsiteY6" fmla="*/ 1510050 h 3528490"/>
                  <a:gd name="connsiteX7" fmla="*/ 3418258 w 3475582"/>
                  <a:gd name="connsiteY7" fmla="*/ 1821462 h 3528490"/>
                  <a:gd name="connsiteX8" fmla="*/ 2822592 w 3475582"/>
                  <a:gd name="connsiteY8" fmla="*/ 2086130 h 3528490"/>
                  <a:gd name="connsiteX9" fmla="*/ 2810498 w 3475582"/>
                  <a:gd name="connsiteY9" fmla="*/ 2878240 h 3528490"/>
                  <a:gd name="connsiteX10" fmla="*/ 2808573 w 3475582"/>
                  <a:gd name="connsiteY10" fmla="*/ 2878240 h 3528490"/>
                  <a:gd name="connsiteX11" fmla="*/ 2016461 w 3475582"/>
                  <a:gd name="connsiteY11" fmla="*/ 2878240 h 3528490"/>
                  <a:gd name="connsiteX12" fmla="*/ 1728421 w 3475582"/>
                  <a:gd name="connsiteY12" fmla="*/ 3526330 h 3528490"/>
                  <a:gd name="connsiteX13" fmla="*/ 1440381 w 3475582"/>
                  <a:gd name="connsiteY13" fmla="*/ 2880790 h 3528490"/>
                  <a:gd name="connsiteX14" fmla="*/ 648273 w 3475582"/>
                  <a:gd name="connsiteY14" fmla="*/ 2878240 h 3528490"/>
                  <a:gd name="connsiteX15" fmla="*/ 648273 w 3475582"/>
                  <a:gd name="connsiteY15" fmla="*/ 2109500 h 3528490"/>
                  <a:gd name="connsiteX16" fmla="*/ 0 w 3475582"/>
                  <a:gd name="connsiteY16" fmla="*/ 1821460 h 3528490"/>
                  <a:gd name="connsiteX17" fmla="*/ 648272 w 3475582"/>
                  <a:gd name="connsiteY17" fmla="*/ 1533420 h 3528490"/>
                  <a:gd name="connsiteX18" fmla="*/ 648273 w 3475582"/>
                  <a:gd name="connsiteY18" fmla="*/ 717940 h 3528490"/>
                  <a:gd name="connsiteX19" fmla="*/ 648273 w 3475582"/>
                  <a:gd name="connsiteY19" fmla="*/ 717940 h 3528490"/>
                  <a:gd name="connsiteX0" fmla="*/ 648273 w 3532906"/>
                  <a:gd name="connsiteY0" fmla="*/ 717940 h 3528490"/>
                  <a:gd name="connsiteX1" fmla="*/ 1440386 w 3532906"/>
                  <a:gd name="connsiteY1" fmla="*/ 717940 h 3528490"/>
                  <a:gd name="connsiteX2" fmla="*/ 1728425 w 3532906"/>
                  <a:gd name="connsiteY2" fmla="*/ 0 h 3528490"/>
                  <a:gd name="connsiteX3" fmla="*/ 2030484 w 3532906"/>
                  <a:gd name="connsiteY3" fmla="*/ 726242 h 3528490"/>
                  <a:gd name="connsiteX4" fmla="*/ 2808573 w 3532906"/>
                  <a:gd name="connsiteY4" fmla="*/ 717940 h 3528490"/>
                  <a:gd name="connsiteX5" fmla="*/ 2822592 w 3532906"/>
                  <a:gd name="connsiteY5" fmla="*/ 1438040 h 3528490"/>
                  <a:gd name="connsiteX6" fmla="*/ 2822592 w 3532906"/>
                  <a:gd name="connsiteY6" fmla="*/ 1510050 h 3528490"/>
                  <a:gd name="connsiteX7" fmla="*/ 3475582 w 3532906"/>
                  <a:gd name="connsiteY7" fmla="*/ 1821462 h 3528490"/>
                  <a:gd name="connsiteX8" fmla="*/ 2822592 w 3532906"/>
                  <a:gd name="connsiteY8" fmla="*/ 2086130 h 3528490"/>
                  <a:gd name="connsiteX9" fmla="*/ 2810498 w 3532906"/>
                  <a:gd name="connsiteY9" fmla="*/ 2878240 h 3528490"/>
                  <a:gd name="connsiteX10" fmla="*/ 2808573 w 3532906"/>
                  <a:gd name="connsiteY10" fmla="*/ 2878240 h 3528490"/>
                  <a:gd name="connsiteX11" fmla="*/ 2016461 w 3532906"/>
                  <a:gd name="connsiteY11" fmla="*/ 2878240 h 3528490"/>
                  <a:gd name="connsiteX12" fmla="*/ 1728421 w 3532906"/>
                  <a:gd name="connsiteY12" fmla="*/ 3526330 h 3528490"/>
                  <a:gd name="connsiteX13" fmla="*/ 1440381 w 3532906"/>
                  <a:gd name="connsiteY13" fmla="*/ 2880790 h 3528490"/>
                  <a:gd name="connsiteX14" fmla="*/ 648273 w 3532906"/>
                  <a:gd name="connsiteY14" fmla="*/ 2878240 h 3528490"/>
                  <a:gd name="connsiteX15" fmla="*/ 648273 w 3532906"/>
                  <a:gd name="connsiteY15" fmla="*/ 2109500 h 3528490"/>
                  <a:gd name="connsiteX16" fmla="*/ 0 w 3532906"/>
                  <a:gd name="connsiteY16" fmla="*/ 1821460 h 3528490"/>
                  <a:gd name="connsiteX17" fmla="*/ 648272 w 3532906"/>
                  <a:gd name="connsiteY17" fmla="*/ 1533420 h 3528490"/>
                  <a:gd name="connsiteX18" fmla="*/ 648273 w 3532906"/>
                  <a:gd name="connsiteY18" fmla="*/ 717940 h 3528490"/>
                  <a:gd name="connsiteX19" fmla="*/ 648273 w 3532906"/>
                  <a:gd name="connsiteY19" fmla="*/ 717940 h 3528490"/>
                  <a:gd name="connsiteX0" fmla="*/ 648273 w 3518925"/>
                  <a:gd name="connsiteY0" fmla="*/ 717940 h 3528490"/>
                  <a:gd name="connsiteX1" fmla="*/ 1440386 w 3518925"/>
                  <a:gd name="connsiteY1" fmla="*/ 717940 h 3528490"/>
                  <a:gd name="connsiteX2" fmla="*/ 1728425 w 3518925"/>
                  <a:gd name="connsiteY2" fmla="*/ 0 h 3528490"/>
                  <a:gd name="connsiteX3" fmla="*/ 2030484 w 3518925"/>
                  <a:gd name="connsiteY3" fmla="*/ 726242 h 3528490"/>
                  <a:gd name="connsiteX4" fmla="*/ 2808573 w 3518925"/>
                  <a:gd name="connsiteY4" fmla="*/ 717940 h 3528490"/>
                  <a:gd name="connsiteX5" fmla="*/ 2822592 w 3518925"/>
                  <a:gd name="connsiteY5" fmla="*/ 1438040 h 3528490"/>
                  <a:gd name="connsiteX6" fmla="*/ 2822592 w 3518925"/>
                  <a:gd name="connsiteY6" fmla="*/ 1510050 h 3528490"/>
                  <a:gd name="connsiteX7" fmla="*/ 3475582 w 3518925"/>
                  <a:gd name="connsiteY7" fmla="*/ 1821462 h 3528490"/>
                  <a:gd name="connsiteX8" fmla="*/ 2822592 w 3518925"/>
                  <a:gd name="connsiteY8" fmla="*/ 2086130 h 3528490"/>
                  <a:gd name="connsiteX9" fmla="*/ 2810498 w 3518925"/>
                  <a:gd name="connsiteY9" fmla="*/ 2878240 h 3528490"/>
                  <a:gd name="connsiteX10" fmla="*/ 2808573 w 3518925"/>
                  <a:gd name="connsiteY10" fmla="*/ 2878240 h 3528490"/>
                  <a:gd name="connsiteX11" fmla="*/ 2016461 w 3518925"/>
                  <a:gd name="connsiteY11" fmla="*/ 2878240 h 3528490"/>
                  <a:gd name="connsiteX12" fmla="*/ 1728421 w 3518925"/>
                  <a:gd name="connsiteY12" fmla="*/ 3526330 h 3528490"/>
                  <a:gd name="connsiteX13" fmla="*/ 1440381 w 3518925"/>
                  <a:gd name="connsiteY13" fmla="*/ 2880790 h 3528490"/>
                  <a:gd name="connsiteX14" fmla="*/ 648273 w 3518925"/>
                  <a:gd name="connsiteY14" fmla="*/ 2878240 h 3528490"/>
                  <a:gd name="connsiteX15" fmla="*/ 648273 w 3518925"/>
                  <a:gd name="connsiteY15" fmla="*/ 2109500 h 3528490"/>
                  <a:gd name="connsiteX16" fmla="*/ 0 w 3518925"/>
                  <a:gd name="connsiteY16" fmla="*/ 1821460 h 3528490"/>
                  <a:gd name="connsiteX17" fmla="*/ 648272 w 3518925"/>
                  <a:gd name="connsiteY17" fmla="*/ 1533420 h 3528490"/>
                  <a:gd name="connsiteX18" fmla="*/ 648273 w 3518925"/>
                  <a:gd name="connsiteY18" fmla="*/ 717940 h 3528490"/>
                  <a:gd name="connsiteX19" fmla="*/ 648273 w 3518925"/>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2880789"/>
                  <a:gd name="connsiteX1" fmla="*/ 1440386 w 3480809"/>
                  <a:gd name="connsiteY1" fmla="*/ 717940 h 2880789"/>
                  <a:gd name="connsiteX2" fmla="*/ 1728425 w 3480809"/>
                  <a:gd name="connsiteY2" fmla="*/ 0 h 2880789"/>
                  <a:gd name="connsiteX3" fmla="*/ 2030484 w 3480809"/>
                  <a:gd name="connsiteY3" fmla="*/ 726242 h 2880789"/>
                  <a:gd name="connsiteX4" fmla="*/ 2808573 w 3480809"/>
                  <a:gd name="connsiteY4" fmla="*/ 717940 h 2880789"/>
                  <a:gd name="connsiteX5" fmla="*/ 2822592 w 3480809"/>
                  <a:gd name="connsiteY5" fmla="*/ 1438040 h 2880789"/>
                  <a:gd name="connsiteX6" fmla="*/ 2822592 w 3480809"/>
                  <a:gd name="connsiteY6" fmla="*/ 1510050 h 2880789"/>
                  <a:gd name="connsiteX7" fmla="*/ 3475582 w 3480809"/>
                  <a:gd name="connsiteY7" fmla="*/ 1821462 h 2880789"/>
                  <a:gd name="connsiteX8" fmla="*/ 2822592 w 3480809"/>
                  <a:gd name="connsiteY8" fmla="*/ 2086130 h 2880789"/>
                  <a:gd name="connsiteX9" fmla="*/ 2810498 w 3480809"/>
                  <a:gd name="connsiteY9" fmla="*/ 2878240 h 2880789"/>
                  <a:gd name="connsiteX10" fmla="*/ 2808573 w 3480809"/>
                  <a:gd name="connsiteY10" fmla="*/ 2878240 h 2880789"/>
                  <a:gd name="connsiteX11" fmla="*/ 2016461 w 3480809"/>
                  <a:gd name="connsiteY11" fmla="*/ 2878240 h 2880789"/>
                  <a:gd name="connsiteX12" fmla="*/ 1440381 w 3480809"/>
                  <a:gd name="connsiteY12" fmla="*/ 2880790 h 2880789"/>
                  <a:gd name="connsiteX13" fmla="*/ 648273 w 3480809"/>
                  <a:gd name="connsiteY13" fmla="*/ 2878240 h 2880789"/>
                  <a:gd name="connsiteX14" fmla="*/ 648273 w 3480809"/>
                  <a:gd name="connsiteY14" fmla="*/ 2109500 h 2880789"/>
                  <a:gd name="connsiteX15" fmla="*/ 0 w 3480809"/>
                  <a:gd name="connsiteY15" fmla="*/ 1821460 h 2880789"/>
                  <a:gd name="connsiteX16" fmla="*/ 648272 w 3480809"/>
                  <a:gd name="connsiteY16" fmla="*/ 1533420 h 2880789"/>
                  <a:gd name="connsiteX17" fmla="*/ 648273 w 3480809"/>
                  <a:gd name="connsiteY17" fmla="*/ 717940 h 2880789"/>
                  <a:gd name="connsiteX18" fmla="*/ 648273 w 3480809"/>
                  <a:gd name="connsiteY18" fmla="*/ 717940 h 288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80809" h="2880789">
                    <a:moveTo>
                      <a:pt x="648273" y="717940"/>
                    </a:moveTo>
                    <a:lnTo>
                      <a:pt x="1440386" y="717940"/>
                    </a:lnTo>
                    <a:cubicBezTo>
                      <a:pt x="1541636" y="632383"/>
                      <a:pt x="1069920" y="35191"/>
                      <a:pt x="1728425" y="0"/>
                    </a:cubicBezTo>
                    <a:cubicBezTo>
                      <a:pt x="2317159" y="80045"/>
                      <a:pt x="2056629" y="469512"/>
                      <a:pt x="2030484" y="726242"/>
                    </a:cubicBezTo>
                    <a:lnTo>
                      <a:pt x="2808573" y="717940"/>
                    </a:lnTo>
                    <a:lnTo>
                      <a:pt x="2822592" y="1438040"/>
                    </a:lnTo>
                    <a:lnTo>
                      <a:pt x="2822592" y="1510050"/>
                    </a:lnTo>
                    <a:cubicBezTo>
                      <a:pt x="2820319" y="1684145"/>
                      <a:pt x="3478431" y="1144330"/>
                      <a:pt x="3475582" y="1821462"/>
                    </a:cubicBezTo>
                    <a:cubicBezTo>
                      <a:pt x="3480809" y="2438159"/>
                      <a:pt x="2825231" y="2071855"/>
                      <a:pt x="2822592" y="2086130"/>
                    </a:cubicBezTo>
                    <a:cubicBezTo>
                      <a:pt x="2822340" y="2381300"/>
                      <a:pt x="2814529" y="2590200"/>
                      <a:pt x="2810498" y="2878240"/>
                    </a:cubicBezTo>
                    <a:cubicBezTo>
                      <a:pt x="2810497" y="2870497"/>
                      <a:pt x="2822592" y="2052696"/>
                      <a:pt x="2808573" y="2878240"/>
                    </a:cubicBezTo>
                    <a:lnTo>
                      <a:pt x="2016461" y="2878240"/>
                    </a:lnTo>
                    <a:lnTo>
                      <a:pt x="1440381" y="2880790"/>
                    </a:lnTo>
                    <a:lnTo>
                      <a:pt x="648273" y="2878240"/>
                    </a:lnTo>
                    <a:lnTo>
                      <a:pt x="648273" y="2109500"/>
                    </a:lnTo>
                    <a:cubicBezTo>
                      <a:pt x="544933" y="1987817"/>
                      <a:pt x="21707" y="2471063"/>
                      <a:pt x="0" y="1821460"/>
                    </a:cubicBezTo>
                    <a:cubicBezTo>
                      <a:pt x="27202" y="1137997"/>
                      <a:pt x="607202" y="1722107"/>
                      <a:pt x="648272" y="1533420"/>
                    </a:cubicBezTo>
                    <a:cubicBezTo>
                      <a:pt x="649979" y="1253413"/>
                      <a:pt x="646566" y="997947"/>
                      <a:pt x="648273" y="717940"/>
                    </a:cubicBezTo>
                    <a:lnTo>
                      <a:pt x="648273" y="717940"/>
                    </a:lnTo>
                    <a:close/>
                  </a:path>
                </a:pathLst>
              </a:cu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4" name="Freihandform 83"/>
              <p:cNvSpPr/>
              <p:nvPr/>
            </p:nvSpPr>
            <p:spPr>
              <a:xfrm rot="10800000">
                <a:off x="3984173" y="3787583"/>
                <a:ext cx="1138179" cy="122559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1 h 2810549"/>
                  <a:gd name="connsiteX1" fmla="*/ 792113 w 2174319"/>
                  <a:gd name="connsiteY1" fmla="*/ -1 h 2810549"/>
                  <a:gd name="connsiteX2" fmla="*/ 1382211 w 2174319"/>
                  <a:gd name="connsiteY2" fmla="*/ 8301 h 2810549"/>
                  <a:gd name="connsiteX3" fmla="*/ 2160300 w 2174319"/>
                  <a:gd name="connsiteY3" fmla="*/ -1 h 2810549"/>
                  <a:gd name="connsiteX4" fmla="*/ 2174319 w 2174319"/>
                  <a:gd name="connsiteY4" fmla="*/ 720099 h 2810549"/>
                  <a:gd name="connsiteX5" fmla="*/ 2174319 w 2174319"/>
                  <a:gd name="connsiteY5" fmla="*/ 792109 h 2810549"/>
                  <a:gd name="connsiteX6" fmla="*/ 1512208 w 2174319"/>
                  <a:gd name="connsiteY6" fmla="*/ 1080149 h 2810549"/>
                  <a:gd name="connsiteX7" fmla="*/ 2174319 w 2174319"/>
                  <a:gd name="connsiteY7" fmla="*/ 1368189 h 2810549"/>
                  <a:gd name="connsiteX8" fmla="*/ 2162225 w 2174319"/>
                  <a:gd name="connsiteY8" fmla="*/ 2160299 h 2810549"/>
                  <a:gd name="connsiteX9" fmla="*/ 2160300 w 2174319"/>
                  <a:gd name="connsiteY9" fmla="*/ 2160299 h 2810549"/>
                  <a:gd name="connsiteX10" fmla="*/ 1368188 w 2174319"/>
                  <a:gd name="connsiteY10" fmla="*/ 2160299 h 2810549"/>
                  <a:gd name="connsiteX11" fmla="*/ 1080148 w 2174319"/>
                  <a:gd name="connsiteY11" fmla="*/ 2808389 h 2810549"/>
                  <a:gd name="connsiteX12" fmla="*/ 792108 w 2174319"/>
                  <a:gd name="connsiteY12" fmla="*/ 2162849 h 2810549"/>
                  <a:gd name="connsiteX13" fmla="*/ 0 w 2174319"/>
                  <a:gd name="connsiteY13" fmla="*/ 2160299 h 2810549"/>
                  <a:gd name="connsiteX14" fmla="*/ 0 w 2174319"/>
                  <a:gd name="connsiteY14" fmla="*/ -1 h 281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4319" h="2810549">
                    <a:moveTo>
                      <a:pt x="0" y="-1"/>
                    </a:moveTo>
                    <a:lnTo>
                      <a:pt x="792113" y="-1"/>
                    </a:lnTo>
                    <a:lnTo>
                      <a:pt x="1382211" y="8301"/>
                    </a:lnTo>
                    <a:lnTo>
                      <a:pt x="2160300" y="-1"/>
                    </a:lnTo>
                    <a:lnTo>
                      <a:pt x="2174319" y="720099"/>
                    </a:lnTo>
                    <a:lnTo>
                      <a:pt x="2174319" y="792109"/>
                    </a:lnTo>
                    <a:cubicBezTo>
                      <a:pt x="2067113" y="984125"/>
                      <a:pt x="1555551" y="424033"/>
                      <a:pt x="1512208" y="1080149"/>
                    </a:cubicBezTo>
                    <a:cubicBezTo>
                      <a:pt x="1569532" y="1704355"/>
                      <a:pt x="2015314" y="1283224"/>
                      <a:pt x="2174319" y="1368189"/>
                    </a:cubicBezTo>
                    <a:cubicBezTo>
                      <a:pt x="2174067" y="1663359"/>
                      <a:pt x="2166256" y="1872259"/>
                      <a:pt x="2162225" y="2160299"/>
                    </a:cubicBezTo>
                    <a:cubicBezTo>
                      <a:pt x="2162224" y="2152556"/>
                      <a:pt x="2174319" y="1334755"/>
                      <a:pt x="2160300" y="2160299"/>
                    </a:cubicBezTo>
                    <a:lnTo>
                      <a:pt x="1368188" y="2160299"/>
                    </a:lnTo>
                    <a:cubicBezTo>
                      <a:pt x="1267741" y="2160299"/>
                      <a:pt x="1696945" y="2810549"/>
                      <a:pt x="1080148" y="2808389"/>
                    </a:cubicBezTo>
                    <a:cubicBezTo>
                      <a:pt x="458508" y="2808389"/>
                      <a:pt x="883688" y="2162849"/>
                      <a:pt x="792108" y="2162849"/>
                    </a:cubicBezTo>
                    <a:lnTo>
                      <a:pt x="0" y="2160299"/>
                    </a:lnTo>
                    <a:lnTo>
                      <a:pt x="0" y="-1"/>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5" name="Freihandform 84"/>
              <p:cNvSpPr/>
              <p:nvPr/>
            </p:nvSpPr>
            <p:spPr>
              <a:xfrm rot="16200000">
                <a:off x="2634732" y="3605646"/>
                <a:ext cx="879800" cy="183820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6" name="Freihandform 85"/>
              <p:cNvSpPr/>
              <p:nvPr/>
            </p:nvSpPr>
            <p:spPr>
              <a:xfrm rot="5400000">
                <a:off x="4283893" y="2037353"/>
                <a:ext cx="879697" cy="146488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2816656">
                    <a:moveTo>
                      <a:pt x="0" y="653806"/>
                    </a:moveTo>
                    <a:lnTo>
                      <a:pt x="792113" y="653806"/>
                    </a:lnTo>
                    <a:cubicBezTo>
                      <a:pt x="954905" y="469129"/>
                      <a:pt x="434186" y="71335"/>
                      <a:pt x="1094168" y="0"/>
                    </a:cubicBezTo>
                    <a:cubicBezTo>
                      <a:pt x="1693169" y="26685"/>
                      <a:pt x="1338621" y="422718"/>
                      <a:pt x="1382211" y="662108"/>
                    </a:cubicBezTo>
                    <a:lnTo>
                      <a:pt x="2160300" y="653806"/>
                    </a:lnTo>
                    <a:lnTo>
                      <a:pt x="2174319" y="1373906"/>
                    </a:lnTo>
                    <a:lnTo>
                      <a:pt x="2174319" y="1445916"/>
                    </a:lnTo>
                    <a:cubicBezTo>
                      <a:pt x="2067113" y="1637932"/>
                      <a:pt x="1555551" y="1077840"/>
                      <a:pt x="1512208" y="1733956"/>
                    </a:cubicBezTo>
                    <a:cubicBezTo>
                      <a:pt x="1569532" y="2358162"/>
                      <a:pt x="2015314" y="1937031"/>
                      <a:pt x="2174319" y="2021996"/>
                    </a:cubicBezTo>
                    <a:cubicBezTo>
                      <a:pt x="2174067" y="2317166"/>
                      <a:pt x="2166256" y="2526066"/>
                      <a:pt x="2162225" y="2814106"/>
                    </a:cubicBezTo>
                    <a:cubicBezTo>
                      <a:pt x="2162224" y="2806363"/>
                      <a:pt x="2174319" y="1988562"/>
                      <a:pt x="2160300" y="2814106"/>
                    </a:cubicBezTo>
                    <a:lnTo>
                      <a:pt x="1368188" y="2814106"/>
                    </a:lnTo>
                    <a:cubicBezTo>
                      <a:pt x="1267741" y="2814106"/>
                      <a:pt x="1619368" y="2109691"/>
                      <a:pt x="1080152" y="2096167"/>
                    </a:cubicBezTo>
                    <a:cubicBezTo>
                      <a:pt x="514431" y="2065071"/>
                      <a:pt x="883688" y="2816656"/>
                      <a:pt x="792108" y="2816656"/>
                    </a:cubicBezTo>
                    <a:lnTo>
                      <a:pt x="0" y="2814106"/>
                    </a:lnTo>
                    <a:lnTo>
                      <a:pt x="0" y="653806"/>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grpSp>
            <p:nvGrpSpPr>
              <p:cNvPr id="87" name="Gruppieren 215"/>
              <p:cNvGrpSpPr/>
              <p:nvPr/>
            </p:nvGrpSpPr>
            <p:grpSpPr>
              <a:xfrm>
                <a:off x="3867301" y="2330100"/>
                <a:ext cx="3859995" cy="2668649"/>
                <a:chOff x="108821" y="66171"/>
                <a:chExt cx="7265267" cy="6514768"/>
              </a:xfrm>
            </p:grpSpPr>
            <p:grpSp>
              <p:nvGrpSpPr>
                <p:cNvPr id="113" name="Gruppieren 191"/>
                <p:cNvGrpSpPr/>
                <p:nvPr/>
              </p:nvGrpSpPr>
              <p:grpSpPr>
                <a:xfrm>
                  <a:off x="108821" y="66171"/>
                  <a:ext cx="7265267" cy="6514768"/>
                  <a:chOff x="711486" y="501255"/>
                  <a:chExt cx="7265267" cy="6514768"/>
                </a:xfrm>
              </p:grpSpPr>
              <p:sp>
                <p:nvSpPr>
                  <p:cNvPr id="115" name="Freihandform 114"/>
                  <p:cNvSpPr/>
                  <p:nvPr/>
                </p:nvSpPr>
                <p:spPr>
                  <a:xfrm rot="5400000">
                    <a:off x="2430206" y="1979339"/>
                    <a:ext cx="3480809" cy="3528490"/>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17" fmla="*/ 0 w 2192141"/>
                      <a:gd name="connsiteY17" fmla="*/ 162781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0 w 2198491"/>
                      <a:gd name="connsiteY16" fmla="*/ 1837360 h 3528490"/>
                      <a:gd name="connsiteX17" fmla="*/ 24172 w 2198491"/>
                      <a:gd name="connsiteY17" fmla="*/ 717940 h 3528490"/>
                      <a:gd name="connsiteX18" fmla="*/ 6350 w 2198491"/>
                      <a:gd name="connsiteY18" fmla="*/ 1627810 h 3528490"/>
                      <a:gd name="connsiteX19" fmla="*/ 24172 w 2198491"/>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24171 w 2198490"/>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1 w 2198491"/>
                      <a:gd name="connsiteY16" fmla="*/ 1893470 h 3528490"/>
                      <a:gd name="connsiteX17" fmla="*/ 24172 w 2198491"/>
                      <a:gd name="connsiteY17" fmla="*/ 717940 h 3528490"/>
                      <a:gd name="connsiteX18" fmla="*/ 1 w 2198491"/>
                      <a:gd name="connsiteY18" fmla="*/ 1383687 h 3528490"/>
                      <a:gd name="connsiteX19" fmla="*/ 12700 w 2198491"/>
                      <a:gd name="connsiteY19" fmla="*/ 1545260 h 3528490"/>
                      <a:gd name="connsiteX20" fmla="*/ 0 w 2198491"/>
                      <a:gd name="connsiteY20" fmla="*/ 1443660 h 3528490"/>
                      <a:gd name="connsiteX21" fmla="*/ 24172 w 2198491"/>
                      <a:gd name="connsiteY21"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533420 h 3528490"/>
                      <a:gd name="connsiteX19" fmla="*/ 12699 w 2198490"/>
                      <a:gd name="connsiteY19" fmla="*/ 1545260 h 3528490"/>
                      <a:gd name="connsiteX20" fmla="*/ 24171 w 2198490"/>
                      <a:gd name="connsiteY20" fmla="*/ 717940 h 3528490"/>
                      <a:gd name="connsiteX0" fmla="*/ 27141 w 2201460"/>
                      <a:gd name="connsiteY0" fmla="*/ 717940 h 3528490"/>
                      <a:gd name="connsiteX1" fmla="*/ 819254 w 2201460"/>
                      <a:gd name="connsiteY1" fmla="*/ 717940 h 3528490"/>
                      <a:gd name="connsiteX2" fmla="*/ 1107293 w 2201460"/>
                      <a:gd name="connsiteY2" fmla="*/ 0 h 3528490"/>
                      <a:gd name="connsiteX3" fmla="*/ 1409352 w 2201460"/>
                      <a:gd name="connsiteY3" fmla="*/ 726242 h 3528490"/>
                      <a:gd name="connsiteX4" fmla="*/ 2187441 w 2201460"/>
                      <a:gd name="connsiteY4" fmla="*/ 717940 h 3528490"/>
                      <a:gd name="connsiteX5" fmla="*/ 2201460 w 2201460"/>
                      <a:gd name="connsiteY5" fmla="*/ 1438040 h 3528490"/>
                      <a:gd name="connsiteX6" fmla="*/ 2201460 w 2201460"/>
                      <a:gd name="connsiteY6" fmla="*/ 1510050 h 3528490"/>
                      <a:gd name="connsiteX7" fmla="*/ 1539349 w 2201460"/>
                      <a:gd name="connsiteY7" fmla="*/ 1798090 h 3528490"/>
                      <a:gd name="connsiteX8" fmla="*/ 2201460 w 2201460"/>
                      <a:gd name="connsiteY8" fmla="*/ 2086130 h 3528490"/>
                      <a:gd name="connsiteX9" fmla="*/ 2189366 w 2201460"/>
                      <a:gd name="connsiteY9" fmla="*/ 2878240 h 3528490"/>
                      <a:gd name="connsiteX10" fmla="*/ 2187441 w 2201460"/>
                      <a:gd name="connsiteY10" fmla="*/ 2878240 h 3528490"/>
                      <a:gd name="connsiteX11" fmla="*/ 1395329 w 2201460"/>
                      <a:gd name="connsiteY11" fmla="*/ 2878240 h 3528490"/>
                      <a:gd name="connsiteX12" fmla="*/ 1107289 w 2201460"/>
                      <a:gd name="connsiteY12" fmla="*/ 3526330 h 3528490"/>
                      <a:gd name="connsiteX13" fmla="*/ 819249 w 2201460"/>
                      <a:gd name="connsiteY13" fmla="*/ 2880790 h 3528490"/>
                      <a:gd name="connsiteX14" fmla="*/ 27141 w 2201460"/>
                      <a:gd name="connsiteY14" fmla="*/ 2878240 h 3528490"/>
                      <a:gd name="connsiteX15" fmla="*/ 9320 w 2201460"/>
                      <a:gd name="connsiteY15" fmla="*/ 2037490 h 3528490"/>
                      <a:gd name="connsiteX16" fmla="*/ 2970 w 2201460"/>
                      <a:gd name="connsiteY16" fmla="*/ 1893470 h 3528490"/>
                      <a:gd name="connsiteX17" fmla="*/ 27141 w 2201460"/>
                      <a:gd name="connsiteY17" fmla="*/ 717940 h 3528490"/>
                      <a:gd name="connsiteX18" fmla="*/ 2970 w 2201460"/>
                      <a:gd name="connsiteY18" fmla="*/ 1533420 h 3528490"/>
                      <a:gd name="connsiteX19" fmla="*/ 9319 w 2201460"/>
                      <a:gd name="connsiteY19" fmla="*/ 1704010 h 3528490"/>
                      <a:gd name="connsiteX20" fmla="*/ 15669 w 2201460"/>
                      <a:gd name="connsiteY20" fmla="*/ 1545260 h 3528490"/>
                      <a:gd name="connsiteX21" fmla="*/ 27141 w 2201460"/>
                      <a:gd name="connsiteY21"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1912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0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4028 w 2204430"/>
                      <a:gd name="connsiteY16" fmla="*/ 189347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0 w 2204430"/>
                      <a:gd name="connsiteY16" fmla="*/ 182146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05936 w 2310366"/>
                      <a:gd name="connsiteY16" fmla="*/ 1821460 h 3528490"/>
                      <a:gd name="connsiteX17" fmla="*/ 136047 w 2310366"/>
                      <a:gd name="connsiteY17" fmla="*/ 717940 h 3528490"/>
                      <a:gd name="connsiteX18" fmla="*/ 111876 w 2310366"/>
                      <a:gd name="connsiteY18" fmla="*/ 1533420 h 3528490"/>
                      <a:gd name="connsiteX19" fmla="*/ 136047 w 2310366"/>
                      <a:gd name="connsiteY19"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36047 w 2310366"/>
                      <a:gd name="connsiteY16" fmla="*/ 717940 h 3528490"/>
                      <a:gd name="connsiteX17" fmla="*/ 111876 w 2310366"/>
                      <a:gd name="connsiteY17" fmla="*/ 1533420 h 3528490"/>
                      <a:gd name="connsiteX18" fmla="*/ 136047 w 2310366"/>
                      <a:gd name="connsiteY18"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03749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2699 w 2192140"/>
                      <a:gd name="connsiteY16" fmla="*/ 1557960 h 3528490"/>
                      <a:gd name="connsiteX17" fmla="*/ 17821 w 2192140"/>
                      <a:gd name="connsiteY17" fmla="*/ 717940 h 3528490"/>
                      <a:gd name="connsiteX18" fmla="*/ 17821 w 2192140"/>
                      <a:gd name="connsiteY18" fmla="*/ 717940 h 3528490"/>
                      <a:gd name="connsiteX0" fmla="*/ 549106 w 2723425"/>
                      <a:gd name="connsiteY0" fmla="*/ 717940 h 3528490"/>
                      <a:gd name="connsiteX1" fmla="*/ 1341219 w 2723425"/>
                      <a:gd name="connsiteY1" fmla="*/ 717940 h 3528490"/>
                      <a:gd name="connsiteX2" fmla="*/ 1629258 w 2723425"/>
                      <a:gd name="connsiteY2" fmla="*/ 0 h 3528490"/>
                      <a:gd name="connsiteX3" fmla="*/ 1931317 w 2723425"/>
                      <a:gd name="connsiteY3" fmla="*/ 726242 h 3528490"/>
                      <a:gd name="connsiteX4" fmla="*/ 2709406 w 2723425"/>
                      <a:gd name="connsiteY4" fmla="*/ 717940 h 3528490"/>
                      <a:gd name="connsiteX5" fmla="*/ 2723425 w 2723425"/>
                      <a:gd name="connsiteY5" fmla="*/ 1438040 h 3528490"/>
                      <a:gd name="connsiteX6" fmla="*/ 2723425 w 2723425"/>
                      <a:gd name="connsiteY6" fmla="*/ 1510050 h 3528490"/>
                      <a:gd name="connsiteX7" fmla="*/ 2061314 w 2723425"/>
                      <a:gd name="connsiteY7" fmla="*/ 1798090 h 3528490"/>
                      <a:gd name="connsiteX8" fmla="*/ 2723425 w 2723425"/>
                      <a:gd name="connsiteY8" fmla="*/ 2086130 h 3528490"/>
                      <a:gd name="connsiteX9" fmla="*/ 2711331 w 2723425"/>
                      <a:gd name="connsiteY9" fmla="*/ 2878240 h 3528490"/>
                      <a:gd name="connsiteX10" fmla="*/ 2709406 w 2723425"/>
                      <a:gd name="connsiteY10" fmla="*/ 2878240 h 3528490"/>
                      <a:gd name="connsiteX11" fmla="*/ 1917294 w 2723425"/>
                      <a:gd name="connsiteY11" fmla="*/ 2878240 h 3528490"/>
                      <a:gd name="connsiteX12" fmla="*/ 1629254 w 2723425"/>
                      <a:gd name="connsiteY12" fmla="*/ 3526330 h 3528490"/>
                      <a:gd name="connsiteX13" fmla="*/ 1341214 w 2723425"/>
                      <a:gd name="connsiteY13" fmla="*/ 2880790 h 3528490"/>
                      <a:gd name="connsiteX14" fmla="*/ 549106 w 2723425"/>
                      <a:gd name="connsiteY14" fmla="*/ 2878240 h 3528490"/>
                      <a:gd name="connsiteX15" fmla="*/ 531285 w 2723425"/>
                      <a:gd name="connsiteY15" fmla="*/ 2181510 h 3528490"/>
                      <a:gd name="connsiteX16" fmla="*/ 543984 w 2723425"/>
                      <a:gd name="connsiteY16" fmla="*/ 1557960 h 3528490"/>
                      <a:gd name="connsiteX17" fmla="*/ 549106 w 2723425"/>
                      <a:gd name="connsiteY17" fmla="*/ 717940 h 3528490"/>
                      <a:gd name="connsiteX18" fmla="*/ 549106 w 2723425"/>
                      <a:gd name="connsiteY18" fmla="*/ 717940 h 3528490"/>
                      <a:gd name="connsiteX0" fmla="*/ 232166 w 2406485"/>
                      <a:gd name="connsiteY0" fmla="*/ 717940 h 3528490"/>
                      <a:gd name="connsiteX1" fmla="*/ 1024279 w 2406485"/>
                      <a:gd name="connsiteY1" fmla="*/ 717940 h 3528490"/>
                      <a:gd name="connsiteX2" fmla="*/ 1312318 w 2406485"/>
                      <a:gd name="connsiteY2" fmla="*/ 0 h 3528490"/>
                      <a:gd name="connsiteX3" fmla="*/ 1614377 w 2406485"/>
                      <a:gd name="connsiteY3" fmla="*/ 726242 h 3528490"/>
                      <a:gd name="connsiteX4" fmla="*/ 2392466 w 2406485"/>
                      <a:gd name="connsiteY4" fmla="*/ 717940 h 3528490"/>
                      <a:gd name="connsiteX5" fmla="*/ 2406485 w 2406485"/>
                      <a:gd name="connsiteY5" fmla="*/ 1438040 h 3528490"/>
                      <a:gd name="connsiteX6" fmla="*/ 2406485 w 2406485"/>
                      <a:gd name="connsiteY6" fmla="*/ 1510050 h 3528490"/>
                      <a:gd name="connsiteX7" fmla="*/ 1744374 w 2406485"/>
                      <a:gd name="connsiteY7" fmla="*/ 1798090 h 3528490"/>
                      <a:gd name="connsiteX8" fmla="*/ 2406485 w 2406485"/>
                      <a:gd name="connsiteY8" fmla="*/ 2086130 h 3528490"/>
                      <a:gd name="connsiteX9" fmla="*/ 2394391 w 2406485"/>
                      <a:gd name="connsiteY9" fmla="*/ 2878240 h 3528490"/>
                      <a:gd name="connsiteX10" fmla="*/ 2392466 w 2406485"/>
                      <a:gd name="connsiteY10" fmla="*/ 2878240 h 3528490"/>
                      <a:gd name="connsiteX11" fmla="*/ 1600354 w 2406485"/>
                      <a:gd name="connsiteY11" fmla="*/ 2878240 h 3528490"/>
                      <a:gd name="connsiteX12" fmla="*/ 1312314 w 2406485"/>
                      <a:gd name="connsiteY12" fmla="*/ 3526330 h 3528490"/>
                      <a:gd name="connsiteX13" fmla="*/ 1024274 w 2406485"/>
                      <a:gd name="connsiteY13" fmla="*/ 2880790 h 3528490"/>
                      <a:gd name="connsiteX14" fmla="*/ 232166 w 2406485"/>
                      <a:gd name="connsiteY14" fmla="*/ 2878240 h 3528490"/>
                      <a:gd name="connsiteX15" fmla="*/ 214345 w 2406485"/>
                      <a:gd name="connsiteY15" fmla="*/ 2181510 h 3528490"/>
                      <a:gd name="connsiteX16" fmla="*/ 2116 w 2406485"/>
                      <a:gd name="connsiteY16" fmla="*/ 1821460 h 3528490"/>
                      <a:gd name="connsiteX17" fmla="*/ 227044 w 2406485"/>
                      <a:gd name="connsiteY17" fmla="*/ 1557960 h 3528490"/>
                      <a:gd name="connsiteX18" fmla="*/ 232166 w 2406485"/>
                      <a:gd name="connsiteY18" fmla="*/ 717940 h 3528490"/>
                      <a:gd name="connsiteX19" fmla="*/ 232166 w 2406485"/>
                      <a:gd name="connsiteY19" fmla="*/ 717940 h 3528490"/>
                      <a:gd name="connsiteX0" fmla="*/ 650389 w 2824708"/>
                      <a:gd name="connsiteY0" fmla="*/ 717940 h 3528490"/>
                      <a:gd name="connsiteX1" fmla="*/ 1442502 w 2824708"/>
                      <a:gd name="connsiteY1" fmla="*/ 717940 h 3528490"/>
                      <a:gd name="connsiteX2" fmla="*/ 1730541 w 2824708"/>
                      <a:gd name="connsiteY2" fmla="*/ 0 h 3528490"/>
                      <a:gd name="connsiteX3" fmla="*/ 2032600 w 2824708"/>
                      <a:gd name="connsiteY3" fmla="*/ 726242 h 3528490"/>
                      <a:gd name="connsiteX4" fmla="*/ 2810689 w 2824708"/>
                      <a:gd name="connsiteY4" fmla="*/ 717940 h 3528490"/>
                      <a:gd name="connsiteX5" fmla="*/ 2824708 w 2824708"/>
                      <a:gd name="connsiteY5" fmla="*/ 1438040 h 3528490"/>
                      <a:gd name="connsiteX6" fmla="*/ 2824708 w 2824708"/>
                      <a:gd name="connsiteY6" fmla="*/ 1510050 h 3528490"/>
                      <a:gd name="connsiteX7" fmla="*/ 2162597 w 2824708"/>
                      <a:gd name="connsiteY7" fmla="*/ 1798090 h 3528490"/>
                      <a:gd name="connsiteX8" fmla="*/ 2824708 w 2824708"/>
                      <a:gd name="connsiteY8" fmla="*/ 2086130 h 3528490"/>
                      <a:gd name="connsiteX9" fmla="*/ 2812614 w 2824708"/>
                      <a:gd name="connsiteY9" fmla="*/ 2878240 h 3528490"/>
                      <a:gd name="connsiteX10" fmla="*/ 2810689 w 2824708"/>
                      <a:gd name="connsiteY10" fmla="*/ 2878240 h 3528490"/>
                      <a:gd name="connsiteX11" fmla="*/ 2018577 w 2824708"/>
                      <a:gd name="connsiteY11" fmla="*/ 2878240 h 3528490"/>
                      <a:gd name="connsiteX12" fmla="*/ 1730537 w 2824708"/>
                      <a:gd name="connsiteY12" fmla="*/ 3526330 h 3528490"/>
                      <a:gd name="connsiteX13" fmla="*/ 1442497 w 2824708"/>
                      <a:gd name="connsiteY13" fmla="*/ 2880790 h 3528490"/>
                      <a:gd name="connsiteX14" fmla="*/ 650389 w 2824708"/>
                      <a:gd name="connsiteY14" fmla="*/ 2878240 h 3528490"/>
                      <a:gd name="connsiteX15" fmla="*/ 632568 w 2824708"/>
                      <a:gd name="connsiteY15" fmla="*/ 2181510 h 3528490"/>
                      <a:gd name="connsiteX16" fmla="*/ 2116 w 2824708"/>
                      <a:gd name="connsiteY16" fmla="*/ 1821460 h 3528490"/>
                      <a:gd name="connsiteX17" fmla="*/ 645267 w 2824708"/>
                      <a:gd name="connsiteY17" fmla="*/ 1557960 h 3528490"/>
                      <a:gd name="connsiteX18" fmla="*/ 650389 w 2824708"/>
                      <a:gd name="connsiteY18" fmla="*/ 717940 h 3528490"/>
                      <a:gd name="connsiteX19" fmla="*/ 650389 w 2824708"/>
                      <a:gd name="connsiteY19" fmla="*/ 717940 h 3528490"/>
                      <a:gd name="connsiteX0" fmla="*/ 649127 w 2823446"/>
                      <a:gd name="connsiteY0" fmla="*/ 717940 h 3528490"/>
                      <a:gd name="connsiteX1" fmla="*/ 1441240 w 2823446"/>
                      <a:gd name="connsiteY1" fmla="*/ 717940 h 3528490"/>
                      <a:gd name="connsiteX2" fmla="*/ 1729279 w 2823446"/>
                      <a:gd name="connsiteY2" fmla="*/ 0 h 3528490"/>
                      <a:gd name="connsiteX3" fmla="*/ 2031338 w 2823446"/>
                      <a:gd name="connsiteY3" fmla="*/ 726242 h 3528490"/>
                      <a:gd name="connsiteX4" fmla="*/ 2809427 w 2823446"/>
                      <a:gd name="connsiteY4" fmla="*/ 717940 h 3528490"/>
                      <a:gd name="connsiteX5" fmla="*/ 2823446 w 2823446"/>
                      <a:gd name="connsiteY5" fmla="*/ 1438040 h 3528490"/>
                      <a:gd name="connsiteX6" fmla="*/ 2823446 w 2823446"/>
                      <a:gd name="connsiteY6" fmla="*/ 1510050 h 3528490"/>
                      <a:gd name="connsiteX7" fmla="*/ 2161335 w 2823446"/>
                      <a:gd name="connsiteY7" fmla="*/ 1798090 h 3528490"/>
                      <a:gd name="connsiteX8" fmla="*/ 2823446 w 2823446"/>
                      <a:gd name="connsiteY8" fmla="*/ 2086130 h 3528490"/>
                      <a:gd name="connsiteX9" fmla="*/ 2811352 w 2823446"/>
                      <a:gd name="connsiteY9" fmla="*/ 2878240 h 3528490"/>
                      <a:gd name="connsiteX10" fmla="*/ 2809427 w 2823446"/>
                      <a:gd name="connsiteY10" fmla="*/ 2878240 h 3528490"/>
                      <a:gd name="connsiteX11" fmla="*/ 2017315 w 2823446"/>
                      <a:gd name="connsiteY11" fmla="*/ 2878240 h 3528490"/>
                      <a:gd name="connsiteX12" fmla="*/ 1729275 w 2823446"/>
                      <a:gd name="connsiteY12" fmla="*/ 3526330 h 3528490"/>
                      <a:gd name="connsiteX13" fmla="*/ 1441235 w 2823446"/>
                      <a:gd name="connsiteY13" fmla="*/ 2880790 h 3528490"/>
                      <a:gd name="connsiteX14" fmla="*/ 649127 w 2823446"/>
                      <a:gd name="connsiteY14" fmla="*/ 2878240 h 3528490"/>
                      <a:gd name="connsiteX15" fmla="*/ 649126 w 2823446"/>
                      <a:gd name="connsiteY15" fmla="*/ 2109500 h 3528490"/>
                      <a:gd name="connsiteX16" fmla="*/ 854 w 2823446"/>
                      <a:gd name="connsiteY16" fmla="*/ 1821460 h 3528490"/>
                      <a:gd name="connsiteX17" fmla="*/ 644005 w 2823446"/>
                      <a:gd name="connsiteY17" fmla="*/ 1557960 h 3528490"/>
                      <a:gd name="connsiteX18" fmla="*/ 649127 w 2823446"/>
                      <a:gd name="connsiteY18" fmla="*/ 717940 h 3528490"/>
                      <a:gd name="connsiteX19" fmla="*/ 649127 w 2823446"/>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75582"/>
                      <a:gd name="connsiteY0" fmla="*/ 717940 h 3528490"/>
                      <a:gd name="connsiteX1" fmla="*/ 1440386 w 3475582"/>
                      <a:gd name="connsiteY1" fmla="*/ 717940 h 3528490"/>
                      <a:gd name="connsiteX2" fmla="*/ 1728425 w 3475582"/>
                      <a:gd name="connsiteY2" fmla="*/ 0 h 3528490"/>
                      <a:gd name="connsiteX3" fmla="*/ 2030484 w 3475582"/>
                      <a:gd name="connsiteY3" fmla="*/ 726242 h 3528490"/>
                      <a:gd name="connsiteX4" fmla="*/ 2808573 w 3475582"/>
                      <a:gd name="connsiteY4" fmla="*/ 717940 h 3528490"/>
                      <a:gd name="connsiteX5" fmla="*/ 2822592 w 3475582"/>
                      <a:gd name="connsiteY5" fmla="*/ 1438040 h 3528490"/>
                      <a:gd name="connsiteX6" fmla="*/ 2822592 w 3475582"/>
                      <a:gd name="connsiteY6" fmla="*/ 1510050 h 3528490"/>
                      <a:gd name="connsiteX7" fmla="*/ 3418258 w 3475582"/>
                      <a:gd name="connsiteY7" fmla="*/ 1821462 h 3528490"/>
                      <a:gd name="connsiteX8" fmla="*/ 2822592 w 3475582"/>
                      <a:gd name="connsiteY8" fmla="*/ 2086130 h 3528490"/>
                      <a:gd name="connsiteX9" fmla="*/ 2810498 w 3475582"/>
                      <a:gd name="connsiteY9" fmla="*/ 2878240 h 3528490"/>
                      <a:gd name="connsiteX10" fmla="*/ 2808573 w 3475582"/>
                      <a:gd name="connsiteY10" fmla="*/ 2878240 h 3528490"/>
                      <a:gd name="connsiteX11" fmla="*/ 2016461 w 3475582"/>
                      <a:gd name="connsiteY11" fmla="*/ 2878240 h 3528490"/>
                      <a:gd name="connsiteX12" fmla="*/ 1728421 w 3475582"/>
                      <a:gd name="connsiteY12" fmla="*/ 3526330 h 3528490"/>
                      <a:gd name="connsiteX13" fmla="*/ 1440381 w 3475582"/>
                      <a:gd name="connsiteY13" fmla="*/ 2880790 h 3528490"/>
                      <a:gd name="connsiteX14" fmla="*/ 648273 w 3475582"/>
                      <a:gd name="connsiteY14" fmla="*/ 2878240 h 3528490"/>
                      <a:gd name="connsiteX15" fmla="*/ 648273 w 3475582"/>
                      <a:gd name="connsiteY15" fmla="*/ 2109500 h 3528490"/>
                      <a:gd name="connsiteX16" fmla="*/ 0 w 3475582"/>
                      <a:gd name="connsiteY16" fmla="*/ 1821460 h 3528490"/>
                      <a:gd name="connsiteX17" fmla="*/ 648272 w 3475582"/>
                      <a:gd name="connsiteY17" fmla="*/ 1533420 h 3528490"/>
                      <a:gd name="connsiteX18" fmla="*/ 648273 w 3475582"/>
                      <a:gd name="connsiteY18" fmla="*/ 717940 h 3528490"/>
                      <a:gd name="connsiteX19" fmla="*/ 648273 w 3475582"/>
                      <a:gd name="connsiteY19" fmla="*/ 717940 h 3528490"/>
                      <a:gd name="connsiteX0" fmla="*/ 648273 w 3532906"/>
                      <a:gd name="connsiteY0" fmla="*/ 717940 h 3528490"/>
                      <a:gd name="connsiteX1" fmla="*/ 1440386 w 3532906"/>
                      <a:gd name="connsiteY1" fmla="*/ 717940 h 3528490"/>
                      <a:gd name="connsiteX2" fmla="*/ 1728425 w 3532906"/>
                      <a:gd name="connsiteY2" fmla="*/ 0 h 3528490"/>
                      <a:gd name="connsiteX3" fmla="*/ 2030484 w 3532906"/>
                      <a:gd name="connsiteY3" fmla="*/ 726242 h 3528490"/>
                      <a:gd name="connsiteX4" fmla="*/ 2808573 w 3532906"/>
                      <a:gd name="connsiteY4" fmla="*/ 717940 h 3528490"/>
                      <a:gd name="connsiteX5" fmla="*/ 2822592 w 3532906"/>
                      <a:gd name="connsiteY5" fmla="*/ 1438040 h 3528490"/>
                      <a:gd name="connsiteX6" fmla="*/ 2822592 w 3532906"/>
                      <a:gd name="connsiteY6" fmla="*/ 1510050 h 3528490"/>
                      <a:gd name="connsiteX7" fmla="*/ 3475582 w 3532906"/>
                      <a:gd name="connsiteY7" fmla="*/ 1821462 h 3528490"/>
                      <a:gd name="connsiteX8" fmla="*/ 2822592 w 3532906"/>
                      <a:gd name="connsiteY8" fmla="*/ 2086130 h 3528490"/>
                      <a:gd name="connsiteX9" fmla="*/ 2810498 w 3532906"/>
                      <a:gd name="connsiteY9" fmla="*/ 2878240 h 3528490"/>
                      <a:gd name="connsiteX10" fmla="*/ 2808573 w 3532906"/>
                      <a:gd name="connsiteY10" fmla="*/ 2878240 h 3528490"/>
                      <a:gd name="connsiteX11" fmla="*/ 2016461 w 3532906"/>
                      <a:gd name="connsiteY11" fmla="*/ 2878240 h 3528490"/>
                      <a:gd name="connsiteX12" fmla="*/ 1728421 w 3532906"/>
                      <a:gd name="connsiteY12" fmla="*/ 3526330 h 3528490"/>
                      <a:gd name="connsiteX13" fmla="*/ 1440381 w 3532906"/>
                      <a:gd name="connsiteY13" fmla="*/ 2880790 h 3528490"/>
                      <a:gd name="connsiteX14" fmla="*/ 648273 w 3532906"/>
                      <a:gd name="connsiteY14" fmla="*/ 2878240 h 3528490"/>
                      <a:gd name="connsiteX15" fmla="*/ 648273 w 3532906"/>
                      <a:gd name="connsiteY15" fmla="*/ 2109500 h 3528490"/>
                      <a:gd name="connsiteX16" fmla="*/ 0 w 3532906"/>
                      <a:gd name="connsiteY16" fmla="*/ 1821460 h 3528490"/>
                      <a:gd name="connsiteX17" fmla="*/ 648272 w 3532906"/>
                      <a:gd name="connsiteY17" fmla="*/ 1533420 h 3528490"/>
                      <a:gd name="connsiteX18" fmla="*/ 648273 w 3532906"/>
                      <a:gd name="connsiteY18" fmla="*/ 717940 h 3528490"/>
                      <a:gd name="connsiteX19" fmla="*/ 648273 w 3532906"/>
                      <a:gd name="connsiteY19" fmla="*/ 717940 h 3528490"/>
                      <a:gd name="connsiteX0" fmla="*/ 648273 w 3518925"/>
                      <a:gd name="connsiteY0" fmla="*/ 717940 h 3528490"/>
                      <a:gd name="connsiteX1" fmla="*/ 1440386 w 3518925"/>
                      <a:gd name="connsiteY1" fmla="*/ 717940 h 3528490"/>
                      <a:gd name="connsiteX2" fmla="*/ 1728425 w 3518925"/>
                      <a:gd name="connsiteY2" fmla="*/ 0 h 3528490"/>
                      <a:gd name="connsiteX3" fmla="*/ 2030484 w 3518925"/>
                      <a:gd name="connsiteY3" fmla="*/ 726242 h 3528490"/>
                      <a:gd name="connsiteX4" fmla="*/ 2808573 w 3518925"/>
                      <a:gd name="connsiteY4" fmla="*/ 717940 h 3528490"/>
                      <a:gd name="connsiteX5" fmla="*/ 2822592 w 3518925"/>
                      <a:gd name="connsiteY5" fmla="*/ 1438040 h 3528490"/>
                      <a:gd name="connsiteX6" fmla="*/ 2822592 w 3518925"/>
                      <a:gd name="connsiteY6" fmla="*/ 1510050 h 3528490"/>
                      <a:gd name="connsiteX7" fmla="*/ 3475582 w 3518925"/>
                      <a:gd name="connsiteY7" fmla="*/ 1821462 h 3528490"/>
                      <a:gd name="connsiteX8" fmla="*/ 2822592 w 3518925"/>
                      <a:gd name="connsiteY8" fmla="*/ 2086130 h 3528490"/>
                      <a:gd name="connsiteX9" fmla="*/ 2810498 w 3518925"/>
                      <a:gd name="connsiteY9" fmla="*/ 2878240 h 3528490"/>
                      <a:gd name="connsiteX10" fmla="*/ 2808573 w 3518925"/>
                      <a:gd name="connsiteY10" fmla="*/ 2878240 h 3528490"/>
                      <a:gd name="connsiteX11" fmla="*/ 2016461 w 3518925"/>
                      <a:gd name="connsiteY11" fmla="*/ 2878240 h 3528490"/>
                      <a:gd name="connsiteX12" fmla="*/ 1728421 w 3518925"/>
                      <a:gd name="connsiteY12" fmla="*/ 3526330 h 3528490"/>
                      <a:gd name="connsiteX13" fmla="*/ 1440381 w 3518925"/>
                      <a:gd name="connsiteY13" fmla="*/ 2880790 h 3528490"/>
                      <a:gd name="connsiteX14" fmla="*/ 648273 w 3518925"/>
                      <a:gd name="connsiteY14" fmla="*/ 2878240 h 3528490"/>
                      <a:gd name="connsiteX15" fmla="*/ 648273 w 3518925"/>
                      <a:gd name="connsiteY15" fmla="*/ 2109500 h 3528490"/>
                      <a:gd name="connsiteX16" fmla="*/ 0 w 3518925"/>
                      <a:gd name="connsiteY16" fmla="*/ 1821460 h 3528490"/>
                      <a:gd name="connsiteX17" fmla="*/ 648272 w 3518925"/>
                      <a:gd name="connsiteY17" fmla="*/ 1533420 h 3528490"/>
                      <a:gd name="connsiteX18" fmla="*/ 648273 w 3518925"/>
                      <a:gd name="connsiteY18" fmla="*/ 717940 h 3528490"/>
                      <a:gd name="connsiteX19" fmla="*/ 648273 w 3518925"/>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80809" h="3528490">
                        <a:moveTo>
                          <a:pt x="648273" y="717940"/>
                        </a:moveTo>
                        <a:lnTo>
                          <a:pt x="1440386" y="717940"/>
                        </a:lnTo>
                        <a:cubicBezTo>
                          <a:pt x="1541636" y="632383"/>
                          <a:pt x="1069920" y="35191"/>
                          <a:pt x="1728425" y="0"/>
                        </a:cubicBezTo>
                        <a:cubicBezTo>
                          <a:pt x="2317159" y="80045"/>
                          <a:pt x="2056629" y="469512"/>
                          <a:pt x="2030484" y="726242"/>
                        </a:cubicBezTo>
                        <a:lnTo>
                          <a:pt x="2808573" y="717940"/>
                        </a:lnTo>
                        <a:lnTo>
                          <a:pt x="2822592" y="1438040"/>
                        </a:lnTo>
                        <a:lnTo>
                          <a:pt x="2822592" y="1510050"/>
                        </a:lnTo>
                        <a:cubicBezTo>
                          <a:pt x="2820319" y="1684145"/>
                          <a:pt x="3478431" y="1144330"/>
                          <a:pt x="3475582" y="1821462"/>
                        </a:cubicBezTo>
                        <a:cubicBezTo>
                          <a:pt x="3480809" y="2438159"/>
                          <a:pt x="2825231" y="2071855"/>
                          <a:pt x="2822592" y="2086130"/>
                        </a:cubicBezTo>
                        <a:cubicBezTo>
                          <a:pt x="2822340" y="2381300"/>
                          <a:pt x="2814529" y="2590200"/>
                          <a:pt x="2810498" y="2878240"/>
                        </a:cubicBezTo>
                        <a:cubicBezTo>
                          <a:pt x="2810497" y="2870497"/>
                          <a:pt x="2822592" y="2052696"/>
                          <a:pt x="2808573" y="2878240"/>
                        </a:cubicBezTo>
                        <a:lnTo>
                          <a:pt x="2016461" y="2878240"/>
                        </a:lnTo>
                        <a:cubicBezTo>
                          <a:pt x="1916014" y="2878240"/>
                          <a:pt x="2345218" y="3528490"/>
                          <a:pt x="1728421" y="3526330"/>
                        </a:cubicBezTo>
                        <a:cubicBezTo>
                          <a:pt x="1106781" y="3526330"/>
                          <a:pt x="1531961" y="2880790"/>
                          <a:pt x="1440381" y="2880790"/>
                        </a:cubicBezTo>
                        <a:lnTo>
                          <a:pt x="648273" y="2878240"/>
                        </a:lnTo>
                        <a:lnTo>
                          <a:pt x="648273" y="2109500"/>
                        </a:lnTo>
                        <a:cubicBezTo>
                          <a:pt x="544933" y="1987817"/>
                          <a:pt x="21707" y="2471063"/>
                          <a:pt x="0" y="1821460"/>
                        </a:cubicBezTo>
                        <a:cubicBezTo>
                          <a:pt x="27202" y="1137997"/>
                          <a:pt x="607202" y="1722107"/>
                          <a:pt x="648272" y="1533420"/>
                        </a:cubicBezTo>
                        <a:cubicBezTo>
                          <a:pt x="649979" y="1253413"/>
                          <a:pt x="646566" y="997947"/>
                          <a:pt x="648273" y="717940"/>
                        </a:cubicBezTo>
                        <a:lnTo>
                          <a:pt x="648273" y="717940"/>
                        </a:lnTo>
                        <a:close/>
                      </a:path>
                    </a:pathLst>
                  </a:custGeom>
                  <a:solidFill>
                    <a:schemeClr val="tx2"/>
                  </a:solidFill>
                  <a:ln>
                    <a:solidFill>
                      <a:srgbClr val="409D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6" name="Freihandform 115"/>
                  <p:cNvSpPr/>
                  <p:nvPr/>
                </p:nvSpPr>
                <p:spPr>
                  <a:xfrm rot="5400000">
                    <a:off x="3083452" y="-169814"/>
                    <a:ext cx="2174318" cy="352848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7" name="Freihandform 116"/>
                  <p:cNvSpPr/>
                  <p:nvPr/>
                </p:nvSpPr>
                <p:spPr>
                  <a:xfrm rot="10800000">
                    <a:off x="5243998" y="501255"/>
                    <a:ext cx="2174360" cy="2162851"/>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28740 h 2810550"/>
                      <a:gd name="connsiteX13" fmla="*/ 40 w 2174359"/>
                      <a:gd name="connsiteY13"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08140 h 2810550"/>
                      <a:gd name="connsiteX13" fmla="*/ 40 w 2174359"/>
                      <a:gd name="connsiteY13" fmla="*/ 0 h 2810550"/>
                      <a:gd name="connsiteX0" fmla="*/ 40 w 2174359"/>
                      <a:gd name="connsiteY0" fmla="*/ 0 h 2176480"/>
                      <a:gd name="connsiteX1" fmla="*/ 2160340 w 2174359"/>
                      <a:gd name="connsiteY1" fmla="*/ 0 h 2176480"/>
                      <a:gd name="connsiteX2" fmla="*/ 2174359 w 2174359"/>
                      <a:gd name="connsiteY2" fmla="*/ 720100 h 2176480"/>
                      <a:gd name="connsiteX3" fmla="*/ 2174359 w 2174359"/>
                      <a:gd name="connsiteY3" fmla="*/ 792110 h 2176480"/>
                      <a:gd name="connsiteX4" fmla="*/ 1512248 w 2174359"/>
                      <a:gd name="connsiteY4" fmla="*/ 1080150 h 2176480"/>
                      <a:gd name="connsiteX5" fmla="*/ 2174359 w 2174359"/>
                      <a:gd name="connsiteY5" fmla="*/ 1368190 h 2176480"/>
                      <a:gd name="connsiteX6" fmla="*/ 2162265 w 2174359"/>
                      <a:gd name="connsiteY6" fmla="*/ 2160300 h 2176480"/>
                      <a:gd name="connsiteX7" fmla="*/ 2160340 w 2174359"/>
                      <a:gd name="connsiteY7" fmla="*/ 2160300 h 2176480"/>
                      <a:gd name="connsiteX8" fmla="*/ 1368228 w 2174359"/>
                      <a:gd name="connsiteY8" fmla="*/ 2160300 h 2176480"/>
                      <a:gd name="connsiteX9" fmla="*/ 1022159 w 2174359"/>
                      <a:gd name="connsiteY9" fmla="*/ 2174320 h 2176480"/>
                      <a:gd name="connsiteX10" fmla="*/ 792148 w 2174359"/>
                      <a:gd name="connsiteY10" fmla="*/ 2162850 h 2176480"/>
                      <a:gd name="connsiteX11" fmla="*/ 40 w 2174359"/>
                      <a:gd name="connsiteY11" fmla="*/ 2160300 h 2176480"/>
                      <a:gd name="connsiteX12" fmla="*/ 0 w 2174359"/>
                      <a:gd name="connsiteY12" fmla="*/ 1008140 h 2176480"/>
                      <a:gd name="connsiteX13" fmla="*/ 40 w 2174359"/>
                      <a:gd name="connsiteY13" fmla="*/ 0 h 2176480"/>
                      <a:gd name="connsiteX0" fmla="*/ 40 w 2174359"/>
                      <a:gd name="connsiteY0" fmla="*/ 0 h 2162850"/>
                      <a:gd name="connsiteX1" fmla="*/ 2160340 w 2174359"/>
                      <a:gd name="connsiteY1" fmla="*/ 0 h 2162850"/>
                      <a:gd name="connsiteX2" fmla="*/ 2174359 w 2174359"/>
                      <a:gd name="connsiteY2" fmla="*/ 720100 h 2162850"/>
                      <a:gd name="connsiteX3" fmla="*/ 2174359 w 2174359"/>
                      <a:gd name="connsiteY3" fmla="*/ 792110 h 2162850"/>
                      <a:gd name="connsiteX4" fmla="*/ 1512248 w 2174359"/>
                      <a:gd name="connsiteY4" fmla="*/ 1080150 h 2162850"/>
                      <a:gd name="connsiteX5" fmla="*/ 2174359 w 2174359"/>
                      <a:gd name="connsiteY5" fmla="*/ 1368190 h 2162850"/>
                      <a:gd name="connsiteX6" fmla="*/ 2162265 w 2174359"/>
                      <a:gd name="connsiteY6" fmla="*/ 2160300 h 2162850"/>
                      <a:gd name="connsiteX7" fmla="*/ 2160340 w 2174359"/>
                      <a:gd name="connsiteY7" fmla="*/ 2160300 h 2162850"/>
                      <a:gd name="connsiteX8" fmla="*/ 1368228 w 2174359"/>
                      <a:gd name="connsiteY8" fmla="*/ 2160300 h 2162850"/>
                      <a:gd name="connsiteX9" fmla="*/ 792148 w 2174359"/>
                      <a:gd name="connsiteY9" fmla="*/ 2162850 h 2162850"/>
                      <a:gd name="connsiteX10" fmla="*/ 40 w 2174359"/>
                      <a:gd name="connsiteY10" fmla="*/ 2160300 h 2162850"/>
                      <a:gd name="connsiteX11" fmla="*/ 0 w 2174359"/>
                      <a:gd name="connsiteY11" fmla="*/ 1008140 h 2162850"/>
                      <a:gd name="connsiteX12" fmla="*/ 40 w 2174359"/>
                      <a:gd name="connsiteY12" fmla="*/ 0 h 216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74359" h="2162850">
                        <a:moveTo>
                          <a:pt x="40" y="0"/>
                        </a:moveTo>
                        <a:lnTo>
                          <a:pt x="2160340" y="0"/>
                        </a:lnTo>
                        <a:lnTo>
                          <a:pt x="2174359" y="720100"/>
                        </a:lnTo>
                        <a:lnTo>
                          <a:pt x="2174359" y="792110"/>
                        </a:lnTo>
                        <a:cubicBezTo>
                          <a:pt x="2127373" y="905666"/>
                          <a:pt x="1555591" y="424034"/>
                          <a:pt x="1512248" y="1080150"/>
                        </a:cubicBezTo>
                        <a:cubicBezTo>
                          <a:pt x="1569572" y="1704356"/>
                          <a:pt x="2060334" y="1244385"/>
                          <a:pt x="2174359" y="1368190"/>
                        </a:cubicBezTo>
                        <a:cubicBezTo>
                          <a:pt x="2174107" y="1663360"/>
                          <a:pt x="2166296" y="1872260"/>
                          <a:pt x="2162265" y="2160300"/>
                        </a:cubicBezTo>
                        <a:cubicBezTo>
                          <a:pt x="2162264" y="2152557"/>
                          <a:pt x="2174359" y="1334756"/>
                          <a:pt x="2160340" y="2160300"/>
                        </a:cubicBezTo>
                        <a:lnTo>
                          <a:pt x="1368228" y="2160300"/>
                        </a:lnTo>
                        <a:lnTo>
                          <a:pt x="792148" y="2162850"/>
                        </a:lnTo>
                        <a:lnTo>
                          <a:pt x="40" y="2160300"/>
                        </a:lnTo>
                        <a:cubicBezTo>
                          <a:pt x="27" y="1783113"/>
                          <a:pt x="13" y="1385327"/>
                          <a:pt x="0" y="1008140"/>
                        </a:cubicBezTo>
                        <a:cubicBezTo>
                          <a:pt x="13" y="665227"/>
                          <a:pt x="27" y="342913"/>
                          <a:pt x="40" y="0"/>
                        </a:cubicBez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8" name="Freihandform 117"/>
                  <p:cNvSpPr/>
                  <p:nvPr/>
                </p:nvSpPr>
                <p:spPr>
                  <a:xfrm>
                    <a:off x="911540" y="1954502"/>
                    <a:ext cx="2185085" cy="281665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5520 w 2174319"/>
                      <a:gd name="connsiteY15" fmla="*/ 1719503 h 2816656"/>
                      <a:gd name="connsiteX16" fmla="*/ 0 w 2174319"/>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10355 w 2184674"/>
                      <a:gd name="connsiteY0" fmla="*/ 653806 h 2816656"/>
                      <a:gd name="connsiteX1" fmla="*/ 802468 w 2184674"/>
                      <a:gd name="connsiteY1" fmla="*/ 653806 h 2816656"/>
                      <a:gd name="connsiteX2" fmla="*/ 1104523 w 2184674"/>
                      <a:gd name="connsiteY2" fmla="*/ 0 h 2816656"/>
                      <a:gd name="connsiteX3" fmla="*/ 1392566 w 2184674"/>
                      <a:gd name="connsiteY3" fmla="*/ 662108 h 2816656"/>
                      <a:gd name="connsiteX4" fmla="*/ 2170655 w 2184674"/>
                      <a:gd name="connsiteY4" fmla="*/ 653806 h 2816656"/>
                      <a:gd name="connsiteX5" fmla="*/ 2184674 w 2184674"/>
                      <a:gd name="connsiteY5" fmla="*/ 1373906 h 2816656"/>
                      <a:gd name="connsiteX6" fmla="*/ 2184674 w 2184674"/>
                      <a:gd name="connsiteY6" fmla="*/ 1445916 h 2816656"/>
                      <a:gd name="connsiteX7" fmla="*/ 1522563 w 2184674"/>
                      <a:gd name="connsiteY7" fmla="*/ 1733956 h 2816656"/>
                      <a:gd name="connsiteX8" fmla="*/ 2184674 w 2184674"/>
                      <a:gd name="connsiteY8" fmla="*/ 2021996 h 2816656"/>
                      <a:gd name="connsiteX9" fmla="*/ 2172580 w 2184674"/>
                      <a:gd name="connsiteY9" fmla="*/ 2814106 h 2816656"/>
                      <a:gd name="connsiteX10" fmla="*/ 2170655 w 2184674"/>
                      <a:gd name="connsiteY10" fmla="*/ 2814106 h 2816656"/>
                      <a:gd name="connsiteX11" fmla="*/ 1378543 w 2184674"/>
                      <a:gd name="connsiteY11" fmla="*/ 2814106 h 2816656"/>
                      <a:gd name="connsiteX12" fmla="*/ 1090507 w 2184674"/>
                      <a:gd name="connsiteY12" fmla="*/ 2096167 h 2816656"/>
                      <a:gd name="connsiteX13" fmla="*/ 802463 w 2184674"/>
                      <a:gd name="connsiteY13" fmla="*/ 2816656 h 2816656"/>
                      <a:gd name="connsiteX14" fmla="*/ 10355 w 2184674"/>
                      <a:gd name="connsiteY14" fmla="*/ 2814106 h 2816656"/>
                      <a:gd name="connsiteX15" fmla="*/ 7872 w 2184674"/>
                      <a:gd name="connsiteY15" fmla="*/ 1883795 h 2816656"/>
                      <a:gd name="connsiteX16" fmla="*/ 10355 w 2184674"/>
                      <a:gd name="connsiteY16" fmla="*/ 653806 h 2816656"/>
                      <a:gd name="connsiteX0" fmla="*/ 10355 w 2184674"/>
                      <a:gd name="connsiteY0" fmla="*/ 653806 h 2816656"/>
                      <a:gd name="connsiteX1" fmla="*/ 802468 w 2184674"/>
                      <a:gd name="connsiteY1" fmla="*/ 653806 h 2816656"/>
                      <a:gd name="connsiteX2" fmla="*/ 1104523 w 2184674"/>
                      <a:gd name="connsiteY2" fmla="*/ 0 h 2816656"/>
                      <a:gd name="connsiteX3" fmla="*/ 1392566 w 2184674"/>
                      <a:gd name="connsiteY3" fmla="*/ 662108 h 2816656"/>
                      <a:gd name="connsiteX4" fmla="*/ 2170655 w 2184674"/>
                      <a:gd name="connsiteY4" fmla="*/ 653806 h 2816656"/>
                      <a:gd name="connsiteX5" fmla="*/ 2184674 w 2184674"/>
                      <a:gd name="connsiteY5" fmla="*/ 1373906 h 2816656"/>
                      <a:gd name="connsiteX6" fmla="*/ 2184674 w 2184674"/>
                      <a:gd name="connsiteY6" fmla="*/ 1445916 h 2816656"/>
                      <a:gd name="connsiteX7" fmla="*/ 1522563 w 2184674"/>
                      <a:gd name="connsiteY7" fmla="*/ 1733956 h 2816656"/>
                      <a:gd name="connsiteX8" fmla="*/ 2184674 w 2184674"/>
                      <a:gd name="connsiteY8" fmla="*/ 2021996 h 2816656"/>
                      <a:gd name="connsiteX9" fmla="*/ 2172580 w 2184674"/>
                      <a:gd name="connsiteY9" fmla="*/ 2814106 h 2816656"/>
                      <a:gd name="connsiteX10" fmla="*/ 2170655 w 2184674"/>
                      <a:gd name="connsiteY10" fmla="*/ 2814106 h 2816656"/>
                      <a:gd name="connsiteX11" fmla="*/ 1378543 w 2184674"/>
                      <a:gd name="connsiteY11" fmla="*/ 2814106 h 2816656"/>
                      <a:gd name="connsiteX12" fmla="*/ 1090507 w 2184674"/>
                      <a:gd name="connsiteY12" fmla="*/ 2096167 h 2816656"/>
                      <a:gd name="connsiteX13" fmla="*/ 802463 w 2184674"/>
                      <a:gd name="connsiteY13" fmla="*/ 2816656 h 2816656"/>
                      <a:gd name="connsiteX14" fmla="*/ 10355 w 2184674"/>
                      <a:gd name="connsiteY14" fmla="*/ 2814106 h 2816656"/>
                      <a:gd name="connsiteX15" fmla="*/ 7872 w 2184674"/>
                      <a:gd name="connsiteY15" fmla="*/ 1883795 h 2816656"/>
                      <a:gd name="connsiteX16" fmla="*/ 10355 w 2184674"/>
                      <a:gd name="connsiteY16" fmla="*/ 653806 h 2816656"/>
                      <a:gd name="connsiteX0" fmla="*/ 7919 w 2182238"/>
                      <a:gd name="connsiteY0" fmla="*/ 653806 h 2816656"/>
                      <a:gd name="connsiteX1" fmla="*/ 800032 w 2182238"/>
                      <a:gd name="connsiteY1" fmla="*/ 653806 h 2816656"/>
                      <a:gd name="connsiteX2" fmla="*/ 1102087 w 2182238"/>
                      <a:gd name="connsiteY2" fmla="*/ 0 h 2816656"/>
                      <a:gd name="connsiteX3" fmla="*/ 1390130 w 2182238"/>
                      <a:gd name="connsiteY3" fmla="*/ 662108 h 2816656"/>
                      <a:gd name="connsiteX4" fmla="*/ 2168219 w 2182238"/>
                      <a:gd name="connsiteY4" fmla="*/ 653806 h 2816656"/>
                      <a:gd name="connsiteX5" fmla="*/ 2182238 w 2182238"/>
                      <a:gd name="connsiteY5" fmla="*/ 1373906 h 2816656"/>
                      <a:gd name="connsiteX6" fmla="*/ 2182238 w 2182238"/>
                      <a:gd name="connsiteY6" fmla="*/ 1445916 h 2816656"/>
                      <a:gd name="connsiteX7" fmla="*/ 1520127 w 2182238"/>
                      <a:gd name="connsiteY7" fmla="*/ 1733956 h 2816656"/>
                      <a:gd name="connsiteX8" fmla="*/ 2182238 w 2182238"/>
                      <a:gd name="connsiteY8" fmla="*/ 2021996 h 2816656"/>
                      <a:gd name="connsiteX9" fmla="*/ 2170144 w 2182238"/>
                      <a:gd name="connsiteY9" fmla="*/ 2814106 h 2816656"/>
                      <a:gd name="connsiteX10" fmla="*/ 2168219 w 2182238"/>
                      <a:gd name="connsiteY10" fmla="*/ 2814106 h 2816656"/>
                      <a:gd name="connsiteX11" fmla="*/ 1376107 w 2182238"/>
                      <a:gd name="connsiteY11" fmla="*/ 2814106 h 2816656"/>
                      <a:gd name="connsiteX12" fmla="*/ 1088071 w 2182238"/>
                      <a:gd name="connsiteY12" fmla="*/ 2096167 h 2816656"/>
                      <a:gd name="connsiteX13" fmla="*/ 800027 w 2182238"/>
                      <a:gd name="connsiteY13" fmla="*/ 2816656 h 2816656"/>
                      <a:gd name="connsiteX14" fmla="*/ 7919 w 2182238"/>
                      <a:gd name="connsiteY14" fmla="*/ 2814106 h 2816656"/>
                      <a:gd name="connsiteX15" fmla="*/ 5436 w 2182238"/>
                      <a:gd name="connsiteY15" fmla="*/ 1883795 h 2816656"/>
                      <a:gd name="connsiteX16" fmla="*/ 7919 w 2182238"/>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3958 w 2178277"/>
                      <a:gd name="connsiteY0" fmla="*/ 653806 h 2816656"/>
                      <a:gd name="connsiteX1" fmla="*/ 796071 w 2178277"/>
                      <a:gd name="connsiteY1" fmla="*/ 653806 h 2816656"/>
                      <a:gd name="connsiteX2" fmla="*/ 1098126 w 2178277"/>
                      <a:gd name="connsiteY2" fmla="*/ 0 h 2816656"/>
                      <a:gd name="connsiteX3" fmla="*/ 1386169 w 2178277"/>
                      <a:gd name="connsiteY3" fmla="*/ 662108 h 2816656"/>
                      <a:gd name="connsiteX4" fmla="*/ 2164258 w 2178277"/>
                      <a:gd name="connsiteY4" fmla="*/ 653806 h 2816656"/>
                      <a:gd name="connsiteX5" fmla="*/ 2178277 w 2178277"/>
                      <a:gd name="connsiteY5" fmla="*/ 1373906 h 2816656"/>
                      <a:gd name="connsiteX6" fmla="*/ 2178277 w 2178277"/>
                      <a:gd name="connsiteY6" fmla="*/ 1445916 h 2816656"/>
                      <a:gd name="connsiteX7" fmla="*/ 1516166 w 2178277"/>
                      <a:gd name="connsiteY7" fmla="*/ 1733956 h 2816656"/>
                      <a:gd name="connsiteX8" fmla="*/ 2178277 w 2178277"/>
                      <a:gd name="connsiteY8" fmla="*/ 2021996 h 2816656"/>
                      <a:gd name="connsiteX9" fmla="*/ 2166183 w 2178277"/>
                      <a:gd name="connsiteY9" fmla="*/ 2814106 h 2816656"/>
                      <a:gd name="connsiteX10" fmla="*/ 2164258 w 2178277"/>
                      <a:gd name="connsiteY10" fmla="*/ 2814106 h 2816656"/>
                      <a:gd name="connsiteX11" fmla="*/ 1372146 w 2178277"/>
                      <a:gd name="connsiteY11" fmla="*/ 2814106 h 2816656"/>
                      <a:gd name="connsiteX12" fmla="*/ 1084110 w 2178277"/>
                      <a:gd name="connsiteY12" fmla="*/ 2096167 h 2816656"/>
                      <a:gd name="connsiteX13" fmla="*/ 796066 w 2178277"/>
                      <a:gd name="connsiteY13" fmla="*/ 2816656 h 2816656"/>
                      <a:gd name="connsiteX14" fmla="*/ 3958 w 2178277"/>
                      <a:gd name="connsiteY14" fmla="*/ 2814106 h 2816656"/>
                      <a:gd name="connsiteX15" fmla="*/ 1475 w 2178277"/>
                      <a:gd name="connsiteY15" fmla="*/ 1883795 h 2816656"/>
                      <a:gd name="connsiteX16" fmla="*/ 3958 w 2178277"/>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208415 w 2176802"/>
                      <a:gd name="connsiteY1" fmla="*/ 653232 h 2816656"/>
                      <a:gd name="connsiteX2" fmla="*/ 794596 w 2176802"/>
                      <a:gd name="connsiteY2" fmla="*/ 653806 h 2816656"/>
                      <a:gd name="connsiteX3" fmla="*/ 1096651 w 2176802"/>
                      <a:gd name="connsiteY3" fmla="*/ 0 h 2816656"/>
                      <a:gd name="connsiteX4" fmla="*/ 1384694 w 2176802"/>
                      <a:gd name="connsiteY4" fmla="*/ 662108 h 2816656"/>
                      <a:gd name="connsiteX5" fmla="*/ 2162783 w 2176802"/>
                      <a:gd name="connsiteY5" fmla="*/ 653806 h 2816656"/>
                      <a:gd name="connsiteX6" fmla="*/ 2176802 w 2176802"/>
                      <a:gd name="connsiteY6" fmla="*/ 1373906 h 2816656"/>
                      <a:gd name="connsiteX7" fmla="*/ 2176802 w 2176802"/>
                      <a:gd name="connsiteY7" fmla="*/ 1445916 h 2816656"/>
                      <a:gd name="connsiteX8" fmla="*/ 1514691 w 2176802"/>
                      <a:gd name="connsiteY8" fmla="*/ 1733956 h 2816656"/>
                      <a:gd name="connsiteX9" fmla="*/ 2176802 w 2176802"/>
                      <a:gd name="connsiteY9" fmla="*/ 2021996 h 2816656"/>
                      <a:gd name="connsiteX10" fmla="*/ 2164708 w 2176802"/>
                      <a:gd name="connsiteY10" fmla="*/ 2814106 h 2816656"/>
                      <a:gd name="connsiteX11" fmla="*/ 2162783 w 2176802"/>
                      <a:gd name="connsiteY11" fmla="*/ 2814106 h 2816656"/>
                      <a:gd name="connsiteX12" fmla="*/ 1370671 w 2176802"/>
                      <a:gd name="connsiteY12" fmla="*/ 2814106 h 2816656"/>
                      <a:gd name="connsiteX13" fmla="*/ 1082635 w 2176802"/>
                      <a:gd name="connsiteY13" fmla="*/ 2096167 h 2816656"/>
                      <a:gd name="connsiteX14" fmla="*/ 794591 w 2176802"/>
                      <a:gd name="connsiteY14" fmla="*/ 2816656 h 2816656"/>
                      <a:gd name="connsiteX15" fmla="*/ 2483 w 2176802"/>
                      <a:gd name="connsiteY15" fmla="*/ 2814106 h 2816656"/>
                      <a:gd name="connsiteX16" fmla="*/ 0 w 2176802"/>
                      <a:gd name="connsiteY16" fmla="*/ 1883795 h 2816656"/>
                      <a:gd name="connsiteX17" fmla="*/ 2483 w 2176802"/>
                      <a:gd name="connsiteY17" fmla="*/ 653806 h 2816656"/>
                      <a:gd name="connsiteX0" fmla="*/ 2483 w 2176802"/>
                      <a:gd name="connsiteY0" fmla="*/ 653806 h 2816656"/>
                      <a:gd name="connsiteX1" fmla="*/ 208415 w 2176802"/>
                      <a:gd name="connsiteY1" fmla="*/ 653232 h 2816656"/>
                      <a:gd name="connsiteX2" fmla="*/ 794596 w 2176802"/>
                      <a:gd name="connsiteY2" fmla="*/ 653806 h 2816656"/>
                      <a:gd name="connsiteX3" fmla="*/ 1096651 w 2176802"/>
                      <a:gd name="connsiteY3" fmla="*/ 0 h 2816656"/>
                      <a:gd name="connsiteX4" fmla="*/ 1384694 w 2176802"/>
                      <a:gd name="connsiteY4" fmla="*/ 662108 h 2816656"/>
                      <a:gd name="connsiteX5" fmla="*/ 2162783 w 2176802"/>
                      <a:gd name="connsiteY5" fmla="*/ 653806 h 2816656"/>
                      <a:gd name="connsiteX6" fmla="*/ 2176802 w 2176802"/>
                      <a:gd name="connsiteY6" fmla="*/ 1373906 h 2816656"/>
                      <a:gd name="connsiteX7" fmla="*/ 2176802 w 2176802"/>
                      <a:gd name="connsiteY7" fmla="*/ 1445916 h 2816656"/>
                      <a:gd name="connsiteX8" fmla="*/ 1514691 w 2176802"/>
                      <a:gd name="connsiteY8" fmla="*/ 1733956 h 2816656"/>
                      <a:gd name="connsiteX9" fmla="*/ 2176802 w 2176802"/>
                      <a:gd name="connsiteY9" fmla="*/ 2021996 h 2816656"/>
                      <a:gd name="connsiteX10" fmla="*/ 2164708 w 2176802"/>
                      <a:gd name="connsiteY10" fmla="*/ 2814106 h 2816656"/>
                      <a:gd name="connsiteX11" fmla="*/ 2162783 w 2176802"/>
                      <a:gd name="connsiteY11" fmla="*/ 2814106 h 2816656"/>
                      <a:gd name="connsiteX12" fmla="*/ 1370671 w 2176802"/>
                      <a:gd name="connsiteY12" fmla="*/ 2814106 h 2816656"/>
                      <a:gd name="connsiteX13" fmla="*/ 1082635 w 2176802"/>
                      <a:gd name="connsiteY13" fmla="*/ 2096167 h 2816656"/>
                      <a:gd name="connsiteX14" fmla="*/ 794591 w 2176802"/>
                      <a:gd name="connsiteY14" fmla="*/ 2816656 h 2816656"/>
                      <a:gd name="connsiteX15" fmla="*/ 2483 w 2176802"/>
                      <a:gd name="connsiteY15" fmla="*/ 2814106 h 2816656"/>
                      <a:gd name="connsiteX16" fmla="*/ 0 w 2176802"/>
                      <a:gd name="connsiteY16" fmla="*/ 1883795 h 2816656"/>
                      <a:gd name="connsiteX17" fmla="*/ 2483 w 2176802"/>
                      <a:gd name="connsiteY17" fmla="*/ 653806 h 2816656"/>
                      <a:gd name="connsiteX0" fmla="*/ 33401 w 2207720"/>
                      <a:gd name="connsiteY0" fmla="*/ 653806 h 2816656"/>
                      <a:gd name="connsiteX1" fmla="*/ 239333 w 2207720"/>
                      <a:gd name="connsiteY1" fmla="*/ 653232 h 2816656"/>
                      <a:gd name="connsiteX2" fmla="*/ 825514 w 2207720"/>
                      <a:gd name="connsiteY2" fmla="*/ 653806 h 2816656"/>
                      <a:gd name="connsiteX3" fmla="*/ 1127569 w 2207720"/>
                      <a:gd name="connsiteY3" fmla="*/ 0 h 2816656"/>
                      <a:gd name="connsiteX4" fmla="*/ 1415612 w 2207720"/>
                      <a:gd name="connsiteY4" fmla="*/ 662108 h 2816656"/>
                      <a:gd name="connsiteX5" fmla="*/ 2193701 w 2207720"/>
                      <a:gd name="connsiteY5" fmla="*/ 653806 h 2816656"/>
                      <a:gd name="connsiteX6" fmla="*/ 2207720 w 2207720"/>
                      <a:gd name="connsiteY6" fmla="*/ 1373906 h 2816656"/>
                      <a:gd name="connsiteX7" fmla="*/ 2207720 w 2207720"/>
                      <a:gd name="connsiteY7" fmla="*/ 1445916 h 2816656"/>
                      <a:gd name="connsiteX8" fmla="*/ 1545609 w 2207720"/>
                      <a:gd name="connsiteY8" fmla="*/ 1733956 h 2816656"/>
                      <a:gd name="connsiteX9" fmla="*/ 2207720 w 2207720"/>
                      <a:gd name="connsiteY9" fmla="*/ 2021996 h 2816656"/>
                      <a:gd name="connsiteX10" fmla="*/ 2195626 w 2207720"/>
                      <a:gd name="connsiteY10" fmla="*/ 2814106 h 2816656"/>
                      <a:gd name="connsiteX11" fmla="*/ 2193701 w 2207720"/>
                      <a:gd name="connsiteY11" fmla="*/ 2814106 h 2816656"/>
                      <a:gd name="connsiteX12" fmla="*/ 1401589 w 2207720"/>
                      <a:gd name="connsiteY12" fmla="*/ 2814106 h 2816656"/>
                      <a:gd name="connsiteX13" fmla="*/ 1113553 w 2207720"/>
                      <a:gd name="connsiteY13" fmla="*/ 2096167 h 2816656"/>
                      <a:gd name="connsiteX14" fmla="*/ 825509 w 2207720"/>
                      <a:gd name="connsiteY14" fmla="*/ 2816656 h 2816656"/>
                      <a:gd name="connsiteX15" fmla="*/ 33401 w 2207720"/>
                      <a:gd name="connsiteY15" fmla="*/ 2814106 h 2816656"/>
                      <a:gd name="connsiteX16" fmla="*/ 30918 w 2207720"/>
                      <a:gd name="connsiteY16" fmla="*/ 1883795 h 2816656"/>
                      <a:gd name="connsiteX17" fmla="*/ 38920 w 2207720"/>
                      <a:gd name="connsiteY17" fmla="*/ 1247194 h 2816656"/>
                      <a:gd name="connsiteX18" fmla="*/ 33401 w 2207720"/>
                      <a:gd name="connsiteY18" fmla="*/ 653806 h 2816656"/>
                      <a:gd name="connsiteX0" fmla="*/ 33401 w 2207720"/>
                      <a:gd name="connsiteY0" fmla="*/ 653806 h 2816656"/>
                      <a:gd name="connsiteX1" fmla="*/ 239333 w 2207720"/>
                      <a:gd name="connsiteY1" fmla="*/ 653232 h 2816656"/>
                      <a:gd name="connsiteX2" fmla="*/ 825514 w 2207720"/>
                      <a:gd name="connsiteY2" fmla="*/ 653806 h 2816656"/>
                      <a:gd name="connsiteX3" fmla="*/ 1127569 w 2207720"/>
                      <a:gd name="connsiteY3" fmla="*/ 0 h 2816656"/>
                      <a:gd name="connsiteX4" fmla="*/ 1415612 w 2207720"/>
                      <a:gd name="connsiteY4" fmla="*/ 662108 h 2816656"/>
                      <a:gd name="connsiteX5" fmla="*/ 2193701 w 2207720"/>
                      <a:gd name="connsiteY5" fmla="*/ 653806 h 2816656"/>
                      <a:gd name="connsiteX6" fmla="*/ 2207720 w 2207720"/>
                      <a:gd name="connsiteY6" fmla="*/ 1373906 h 2816656"/>
                      <a:gd name="connsiteX7" fmla="*/ 2207720 w 2207720"/>
                      <a:gd name="connsiteY7" fmla="*/ 1445916 h 2816656"/>
                      <a:gd name="connsiteX8" fmla="*/ 1545609 w 2207720"/>
                      <a:gd name="connsiteY8" fmla="*/ 1733956 h 2816656"/>
                      <a:gd name="connsiteX9" fmla="*/ 2207720 w 2207720"/>
                      <a:gd name="connsiteY9" fmla="*/ 2021996 h 2816656"/>
                      <a:gd name="connsiteX10" fmla="*/ 2195626 w 2207720"/>
                      <a:gd name="connsiteY10" fmla="*/ 2814106 h 2816656"/>
                      <a:gd name="connsiteX11" fmla="*/ 2193701 w 2207720"/>
                      <a:gd name="connsiteY11" fmla="*/ 2814106 h 2816656"/>
                      <a:gd name="connsiteX12" fmla="*/ 1401589 w 2207720"/>
                      <a:gd name="connsiteY12" fmla="*/ 2814106 h 2816656"/>
                      <a:gd name="connsiteX13" fmla="*/ 1113553 w 2207720"/>
                      <a:gd name="connsiteY13" fmla="*/ 2096167 h 2816656"/>
                      <a:gd name="connsiteX14" fmla="*/ 825509 w 2207720"/>
                      <a:gd name="connsiteY14" fmla="*/ 2816656 h 2816656"/>
                      <a:gd name="connsiteX15" fmla="*/ 33401 w 2207720"/>
                      <a:gd name="connsiteY15" fmla="*/ 2814106 h 2816656"/>
                      <a:gd name="connsiteX16" fmla="*/ 30918 w 2207720"/>
                      <a:gd name="connsiteY16" fmla="*/ 1883795 h 2816656"/>
                      <a:gd name="connsiteX17" fmla="*/ 38920 w 2207720"/>
                      <a:gd name="connsiteY17" fmla="*/ 1247194 h 2816656"/>
                      <a:gd name="connsiteX18" fmla="*/ 33401 w 2207720"/>
                      <a:gd name="connsiteY18" fmla="*/ 653806 h 2816656"/>
                      <a:gd name="connsiteX0" fmla="*/ 104476 w 2278795"/>
                      <a:gd name="connsiteY0" fmla="*/ 653806 h 2816656"/>
                      <a:gd name="connsiteX1" fmla="*/ 310408 w 2278795"/>
                      <a:gd name="connsiteY1" fmla="*/ 653232 h 2816656"/>
                      <a:gd name="connsiteX2" fmla="*/ 896589 w 2278795"/>
                      <a:gd name="connsiteY2" fmla="*/ 653806 h 2816656"/>
                      <a:gd name="connsiteX3" fmla="*/ 1198644 w 2278795"/>
                      <a:gd name="connsiteY3" fmla="*/ 0 h 2816656"/>
                      <a:gd name="connsiteX4" fmla="*/ 1486687 w 2278795"/>
                      <a:gd name="connsiteY4" fmla="*/ 662108 h 2816656"/>
                      <a:gd name="connsiteX5" fmla="*/ 2264776 w 2278795"/>
                      <a:gd name="connsiteY5" fmla="*/ 653806 h 2816656"/>
                      <a:gd name="connsiteX6" fmla="*/ 2278795 w 2278795"/>
                      <a:gd name="connsiteY6" fmla="*/ 1373906 h 2816656"/>
                      <a:gd name="connsiteX7" fmla="*/ 2278795 w 2278795"/>
                      <a:gd name="connsiteY7" fmla="*/ 1445916 h 2816656"/>
                      <a:gd name="connsiteX8" fmla="*/ 1616684 w 2278795"/>
                      <a:gd name="connsiteY8" fmla="*/ 1733956 h 2816656"/>
                      <a:gd name="connsiteX9" fmla="*/ 2278795 w 2278795"/>
                      <a:gd name="connsiteY9" fmla="*/ 2021996 h 2816656"/>
                      <a:gd name="connsiteX10" fmla="*/ 2266701 w 2278795"/>
                      <a:gd name="connsiteY10" fmla="*/ 2814106 h 2816656"/>
                      <a:gd name="connsiteX11" fmla="*/ 2264776 w 2278795"/>
                      <a:gd name="connsiteY11" fmla="*/ 2814106 h 2816656"/>
                      <a:gd name="connsiteX12" fmla="*/ 1472664 w 2278795"/>
                      <a:gd name="connsiteY12" fmla="*/ 2814106 h 2816656"/>
                      <a:gd name="connsiteX13" fmla="*/ 1184628 w 2278795"/>
                      <a:gd name="connsiteY13" fmla="*/ 2096167 h 2816656"/>
                      <a:gd name="connsiteX14" fmla="*/ 896584 w 2278795"/>
                      <a:gd name="connsiteY14" fmla="*/ 2816656 h 2816656"/>
                      <a:gd name="connsiteX15" fmla="*/ 104476 w 2278795"/>
                      <a:gd name="connsiteY15" fmla="*/ 2814106 h 2816656"/>
                      <a:gd name="connsiteX16" fmla="*/ 101993 w 2278795"/>
                      <a:gd name="connsiteY16" fmla="*/ 1883795 h 2816656"/>
                      <a:gd name="connsiteX17" fmla="*/ 109995 w 2278795"/>
                      <a:gd name="connsiteY17" fmla="*/ 1247194 h 2816656"/>
                      <a:gd name="connsiteX18" fmla="*/ 104476 w 2278795"/>
                      <a:gd name="connsiteY18" fmla="*/ 653806 h 2816656"/>
                      <a:gd name="connsiteX0" fmla="*/ 104476 w 2278795"/>
                      <a:gd name="connsiteY0" fmla="*/ 653806 h 2816656"/>
                      <a:gd name="connsiteX1" fmla="*/ 310408 w 2278795"/>
                      <a:gd name="connsiteY1" fmla="*/ 653232 h 2816656"/>
                      <a:gd name="connsiteX2" fmla="*/ 896589 w 2278795"/>
                      <a:gd name="connsiteY2" fmla="*/ 653806 h 2816656"/>
                      <a:gd name="connsiteX3" fmla="*/ 1198644 w 2278795"/>
                      <a:gd name="connsiteY3" fmla="*/ 0 h 2816656"/>
                      <a:gd name="connsiteX4" fmla="*/ 1486687 w 2278795"/>
                      <a:gd name="connsiteY4" fmla="*/ 662108 h 2816656"/>
                      <a:gd name="connsiteX5" fmla="*/ 2264776 w 2278795"/>
                      <a:gd name="connsiteY5" fmla="*/ 653806 h 2816656"/>
                      <a:gd name="connsiteX6" fmla="*/ 2278795 w 2278795"/>
                      <a:gd name="connsiteY6" fmla="*/ 1373906 h 2816656"/>
                      <a:gd name="connsiteX7" fmla="*/ 2278795 w 2278795"/>
                      <a:gd name="connsiteY7" fmla="*/ 1445916 h 2816656"/>
                      <a:gd name="connsiteX8" fmla="*/ 1616684 w 2278795"/>
                      <a:gd name="connsiteY8" fmla="*/ 1733956 h 2816656"/>
                      <a:gd name="connsiteX9" fmla="*/ 2278795 w 2278795"/>
                      <a:gd name="connsiteY9" fmla="*/ 2021996 h 2816656"/>
                      <a:gd name="connsiteX10" fmla="*/ 2266701 w 2278795"/>
                      <a:gd name="connsiteY10" fmla="*/ 2814106 h 2816656"/>
                      <a:gd name="connsiteX11" fmla="*/ 2264776 w 2278795"/>
                      <a:gd name="connsiteY11" fmla="*/ 2814106 h 2816656"/>
                      <a:gd name="connsiteX12" fmla="*/ 1472664 w 2278795"/>
                      <a:gd name="connsiteY12" fmla="*/ 2814106 h 2816656"/>
                      <a:gd name="connsiteX13" fmla="*/ 1184628 w 2278795"/>
                      <a:gd name="connsiteY13" fmla="*/ 2096167 h 2816656"/>
                      <a:gd name="connsiteX14" fmla="*/ 896584 w 2278795"/>
                      <a:gd name="connsiteY14" fmla="*/ 2816656 h 2816656"/>
                      <a:gd name="connsiteX15" fmla="*/ 104476 w 2278795"/>
                      <a:gd name="connsiteY15" fmla="*/ 2814106 h 2816656"/>
                      <a:gd name="connsiteX16" fmla="*/ 101993 w 2278795"/>
                      <a:gd name="connsiteY16" fmla="*/ 1883795 h 2816656"/>
                      <a:gd name="connsiteX17" fmla="*/ 109995 w 2278795"/>
                      <a:gd name="connsiteY17" fmla="*/ 1247194 h 2816656"/>
                      <a:gd name="connsiteX18" fmla="*/ 104476 w 2278795"/>
                      <a:gd name="connsiteY18" fmla="*/ 653806 h 2816656"/>
                      <a:gd name="connsiteX0" fmla="*/ 2766 w 2177085"/>
                      <a:gd name="connsiteY0" fmla="*/ 653806 h 2816656"/>
                      <a:gd name="connsiteX1" fmla="*/ 208698 w 2177085"/>
                      <a:gd name="connsiteY1" fmla="*/ 653232 h 2816656"/>
                      <a:gd name="connsiteX2" fmla="*/ 794879 w 2177085"/>
                      <a:gd name="connsiteY2" fmla="*/ 653806 h 2816656"/>
                      <a:gd name="connsiteX3" fmla="*/ 1096934 w 2177085"/>
                      <a:gd name="connsiteY3" fmla="*/ 0 h 2816656"/>
                      <a:gd name="connsiteX4" fmla="*/ 1384977 w 2177085"/>
                      <a:gd name="connsiteY4" fmla="*/ 662108 h 2816656"/>
                      <a:gd name="connsiteX5" fmla="*/ 2163066 w 2177085"/>
                      <a:gd name="connsiteY5" fmla="*/ 653806 h 2816656"/>
                      <a:gd name="connsiteX6" fmla="*/ 2177085 w 2177085"/>
                      <a:gd name="connsiteY6" fmla="*/ 1373906 h 2816656"/>
                      <a:gd name="connsiteX7" fmla="*/ 2177085 w 2177085"/>
                      <a:gd name="connsiteY7" fmla="*/ 1445916 h 2816656"/>
                      <a:gd name="connsiteX8" fmla="*/ 1514974 w 2177085"/>
                      <a:gd name="connsiteY8" fmla="*/ 1733956 h 2816656"/>
                      <a:gd name="connsiteX9" fmla="*/ 2177085 w 2177085"/>
                      <a:gd name="connsiteY9" fmla="*/ 2021996 h 2816656"/>
                      <a:gd name="connsiteX10" fmla="*/ 2164991 w 2177085"/>
                      <a:gd name="connsiteY10" fmla="*/ 2814106 h 2816656"/>
                      <a:gd name="connsiteX11" fmla="*/ 2163066 w 2177085"/>
                      <a:gd name="connsiteY11" fmla="*/ 2814106 h 2816656"/>
                      <a:gd name="connsiteX12" fmla="*/ 1370954 w 2177085"/>
                      <a:gd name="connsiteY12" fmla="*/ 2814106 h 2816656"/>
                      <a:gd name="connsiteX13" fmla="*/ 1082918 w 2177085"/>
                      <a:gd name="connsiteY13" fmla="*/ 2096167 h 2816656"/>
                      <a:gd name="connsiteX14" fmla="*/ 794874 w 2177085"/>
                      <a:gd name="connsiteY14" fmla="*/ 2816656 h 2816656"/>
                      <a:gd name="connsiteX15" fmla="*/ 2766 w 2177085"/>
                      <a:gd name="connsiteY15" fmla="*/ 2814106 h 2816656"/>
                      <a:gd name="connsiteX16" fmla="*/ 283 w 2177085"/>
                      <a:gd name="connsiteY16" fmla="*/ 1883795 h 2816656"/>
                      <a:gd name="connsiteX17" fmla="*/ 8285 w 2177085"/>
                      <a:gd name="connsiteY17" fmla="*/ 1247194 h 2816656"/>
                      <a:gd name="connsiteX18" fmla="*/ 2766 w 2177085"/>
                      <a:gd name="connsiteY18" fmla="*/ 653806 h 2816656"/>
                      <a:gd name="connsiteX0" fmla="*/ 6948 w 2181267"/>
                      <a:gd name="connsiteY0" fmla="*/ 653806 h 2816656"/>
                      <a:gd name="connsiteX1" fmla="*/ 212880 w 2181267"/>
                      <a:gd name="connsiteY1" fmla="*/ 653232 h 2816656"/>
                      <a:gd name="connsiteX2" fmla="*/ 799061 w 2181267"/>
                      <a:gd name="connsiteY2" fmla="*/ 653806 h 2816656"/>
                      <a:gd name="connsiteX3" fmla="*/ 1101116 w 2181267"/>
                      <a:gd name="connsiteY3" fmla="*/ 0 h 2816656"/>
                      <a:gd name="connsiteX4" fmla="*/ 1389159 w 2181267"/>
                      <a:gd name="connsiteY4" fmla="*/ 662108 h 2816656"/>
                      <a:gd name="connsiteX5" fmla="*/ 2167248 w 2181267"/>
                      <a:gd name="connsiteY5" fmla="*/ 653806 h 2816656"/>
                      <a:gd name="connsiteX6" fmla="*/ 2181267 w 2181267"/>
                      <a:gd name="connsiteY6" fmla="*/ 1373906 h 2816656"/>
                      <a:gd name="connsiteX7" fmla="*/ 2181267 w 2181267"/>
                      <a:gd name="connsiteY7" fmla="*/ 1445916 h 2816656"/>
                      <a:gd name="connsiteX8" fmla="*/ 1519156 w 2181267"/>
                      <a:gd name="connsiteY8" fmla="*/ 1733956 h 2816656"/>
                      <a:gd name="connsiteX9" fmla="*/ 2181267 w 2181267"/>
                      <a:gd name="connsiteY9" fmla="*/ 2021996 h 2816656"/>
                      <a:gd name="connsiteX10" fmla="*/ 2169173 w 2181267"/>
                      <a:gd name="connsiteY10" fmla="*/ 2814106 h 2816656"/>
                      <a:gd name="connsiteX11" fmla="*/ 2167248 w 2181267"/>
                      <a:gd name="connsiteY11" fmla="*/ 2814106 h 2816656"/>
                      <a:gd name="connsiteX12" fmla="*/ 1375136 w 2181267"/>
                      <a:gd name="connsiteY12" fmla="*/ 2814106 h 2816656"/>
                      <a:gd name="connsiteX13" fmla="*/ 1087100 w 2181267"/>
                      <a:gd name="connsiteY13" fmla="*/ 2096167 h 2816656"/>
                      <a:gd name="connsiteX14" fmla="*/ 799056 w 2181267"/>
                      <a:gd name="connsiteY14" fmla="*/ 2816656 h 2816656"/>
                      <a:gd name="connsiteX15" fmla="*/ 6948 w 2181267"/>
                      <a:gd name="connsiteY15" fmla="*/ 2814106 h 2816656"/>
                      <a:gd name="connsiteX16" fmla="*/ 4465 w 2181267"/>
                      <a:gd name="connsiteY16" fmla="*/ 1883795 h 2816656"/>
                      <a:gd name="connsiteX17" fmla="*/ 1334 w 2181267"/>
                      <a:gd name="connsiteY17" fmla="*/ 1640784 h 2816656"/>
                      <a:gd name="connsiteX18" fmla="*/ 12467 w 2181267"/>
                      <a:gd name="connsiteY18" fmla="*/ 1247194 h 2816656"/>
                      <a:gd name="connsiteX19" fmla="*/ 6948 w 2181267"/>
                      <a:gd name="connsiteY19" fmla="*/ 653806 h 2816656"/>
                      <a:gd name="connsiteX0" fmla="*/ 3418 w 2177737"/>
                      <a:gd name="connsiteY0" fmla="*/ 653806 h 2816656"/>
                      <a:gd name="connsiteX1" fmla="*/ 209350 w 2177737"/>
                      <a:gd name="connsiteY1" fmla="*/ 653232 h 2816656"/>
                      <a:gd name="connsiteX2" fmla="*/ 795531 w 2177737"/>
                      <a:gd name="connsiteY2" fmla="*/ 653806 h 2816656"/>
                      <a:gd name="connsiteX3" fmla="*/ 1097586 w 2177737"/>
                      <a:gd name="connsiteY3" fmla="*/ 0 h 2816656"/>
                      <a:gd name="connsiteX4" fmla="*/ 1385629 w 2177737"/>
                      <a:gd name="connsiteY4" fmla="*/ 662108 h 2816656"/>
                      <a:gd name="connsiteX5" fmla="*/ 2163718 w 2177737"/>
                      <a:gd name="connsiteY5" fmla="*/ 653806 h 2816656"/>
                      <a:gd name="connsiteX6" fmla="*/ 2177737 w 2177737"/>
                      <a:gd name="connsiteY6" fmla="*/ 1373906 h 2816656"/>
                      <a:gd name="connsiteX7" fmla="*/ 2177737 w 2177737"/>
                      <a:gd name="connsiteY7" fmla="*/ 1445916 h 2816656"/>
                      <a:gd name="connsiteX8" fmla="*/ 1515626 w 2177737"/>
                      <a:gd name="connsiteY8" fmla="*/ 1733956 h 2816656"/>
                      <a:gd name="connsiteX9" fmla="*/ 2177737 w 2177737"/>
                      <a:gd name="connsiteY9" fmla="*/ 2021996 h 2816656"/>
                      <a:gd name="connsiteX10" fmla="*/ 2165643 w 2177737"/>
                      <a:gd name="connsiteY10" fmla="*/ 2814106 h 2816656"/>
                      <a:gd name="connsiteX11" fmla="*/ 2163718 w 2177737"/>
                      <a:gd name="connsiteY11" fmla="*/ 2814106 h 2816656"/>
                      <a:gd name="connsiteX12" fmla="*/ 1371606 w 2177737"/>
                      <a:gd name="connsiteY12" fmla="*/ 2814106 h 2816656"/>
                      <a:gd name="connsiteX13" fmla="*/ 1083570 w 2177737"/>
                      <a:gd name="connsiteY13" fmla="*/ 2096167 h 2816656"/>
                      <a:gd name="connsiteX14" fmla="*/ 795526 w 2177737"/>
                      <a:gd name="connsiteY14" fmla="*/ 2816656 h 2816656"/>
                      <a:gd name="connsiteX15" fmla="*/ 3418 w 2177737"/>
                      <a:gd name="connsiteY15" fmla="*/ 2814106 h 2816656"/>
                      <a:gd name="connsiteX16" fmla="*/ 935 w 2177737"/>
                      <a:gd name="connsiteY16" fmla="*/ 1883795 h 2816656"/>
                      <a:gd name="connsiteX17" fmla="*/ 674313 w 2177737"/>
                      <a:gd name="connsiteY17" fmla="*/ 1667396 h 2816656"/>
                      <a:gd name="connsiteX18" fmla="*/ 8937 w 2177737"/>
                      <a:gd name="connsiteY18" fmla="*/ 1247194 h 2816656"/>
                      <a:gd name="connsiteX19" fmla="*/ 3418 w 2177737"/>
                      <a:gd name="connsiteY19" fmla="*/ 653806 h 2816656"/>
                      <a:gd name="connsiteX0" fmla="*/ 3418 w 2177737"/>
                      <a:gd name="connsiteY0" fmla="*/ 653806 h 2816656"/>
                      <a:gd name="connsiteX1" fmla="*/ 209350 w 2177737"/>
                      <a:gd name="connsiteY1" fmla="*/ 653232 h 2816656"/>
                      <a:gd name="connsiteX2" fmla="*/ 795531 w 2177737"/>
                      <a:gd name="connsiteY2" fmla="*/ 653806 h 2816656"/>
                      <a:gd name="connsiteX3" fmla="*/ 1097586 w 2177737"/>
                      <a:gd name="connsiteY3" fmla="*/ 0 h 2816656"/>
                      <a:gd name="connsiteX4" fmla="*/ 1385629 w 2177737"/>
                      <a:gd name="connsiteY4" fmla="*/ 662108 h 2816656"/>
                      <a:gd name="connsiteX5" fmla="*/ 2163718 w 2177737"/>
                      <a:gd name="connsiteY5" fmla="*/ 653806 h 2816656"/>
                      <a:gd name="connsiteX6" fmla="*/ 2177737 w 2177737"/>
                      <a:gd name="connsiteY6" fmla="*/ 1373906 h 2816656"/>
                      <a:gd name="connsiteX7" fmla="*/ 2177737 w 2177737"/>
                      <a:gd name="connsiteY7" fmla="*/ 1445916 h 2816656"/>
                      <a:gd name="connsiteX8" fmla="*/ 1515626 w 2177737"/>
                      <a:gd name="connsiteY8" fmla="*/ 1733956 h 2816656"/>
                      <a:gd name="connsiteX9" fmla="*/ 2177737 w 2177737"/>
                      <a:gd name="connsiteY9" fmla="*/ 2021996 h 2816656"/>
                      <a:gd name="connsiteX10" fmla="*/ 2165643 w 2177737"/>
                      <a:gd name="connsiteY10" fmla="*/ 2814106 h 2816656"/>
                      <a:gd name="connsiteX11" fmla="*/ 2163718 w 2177737"/>
                      <a:gd name="connsiteY11" fmla="*/ 2814106 h 2816656"/>
                      <a:gd name="connsiteX12" fmla="*/ 1371606 w 2177737"/>
                      <a:gd name="connsiteY12" fmla="*/ 2814106 h 2816656"/>
                      <a:gd name="connsiteX13" fmla="*/ 1083570 w 2177737"/>
                      <a:gd name="connsiteY13" fmla="*/ 2096167 h 2816656"/>
                      <a:gd name="connsiteX14" fmla="*/ 795526 w 2177737"/>
                      <a:gd name="connsiteY14" fmla="*/ 2816656 h 2816656"/>
                      <a:gd name="connsiteX15" fmla="*/ 3418 w 2177737"/>
                      <a:gd name="connsiteY15" fmla="*/ 2814106 h 2816656"/>
                      <a:gd name="connsiteX16" fmla="*/ 937 w 2177737"/>
                      <a:gd name="connsiteY16" fmla="*/ 1883795 h 2816656"/>
                      <a:gd name="connsiteX17" fmla="*/ 674313 w 2177737"/>
                      <a:gd name="connsiteY17" fmla="*/ 1667396 h 2816656"/>
                      <a:gd name="connsiteX18" fmla="*/ 8937 w 2177737"/>
                      <a:gd name="connsiteY18" fmla="*/ 1247194 h 2816656"/>
                      <a:gd name="connsiteX19" fmla="*/ 3418 w 2177737"/>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941044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941044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85085" h="2816656">
                        <a:moveTo>
                          <a:pt x="10766" y="653806"/>
                        </a:moveTo>
                        <a:cubicBezTo>
                          <a:pt x="79410" y="653615"/>
                          <a:pt x="15547" y="649697"/>
                          <a:pt x="216698" y="653232"/>
                        </a:cubicBezTo>
                        <a:lnTo>
                          <a:pt x="802879" y="653806"/>
                        </a:lnTo>
                        <a:cubicBezTo>
                          <a:pt x="965671" y="469129"/>
                          <a:pt x="444952" y="71335"/>
                          <a:pt x="1104934" y="0"/>
                        </a:cubicBezTo>
                        <a:cubicBezTo>
                          <a:pt x="1703935" y="26685"/>
                          <a:pt x="1349387" y="422718"/>
                          <a:pt x="1392977" y="662108"/>
                        </a:cubicBezTo>
                        <a:lnTo>
                          <a:pt x="2171066" y="653806"/>
                        </a:lnTo>
                        <a:lnTo>
                          <a:pt x="2185085" y="1373906"/>
                        </a:lnTo>
                        <a:lnTo>
                          <a:pt x="2185085" y="1445916"/>
                        </a:lnTo>
                        <a:cubicBezTo>
                          <a:pt x="2077879" y="1637932"/>
                          <a:pt x="1566317" y="1077840"/>
                          <a:pt x="1522974" y="1733956"/>
                        </a:cubicBezTo>
                        <a:cubicBezTo>
                          <a:pt x="1580298" y="2358162"/>
                          <a:pt x="2026080" y="1937031"/>
                          <a:pt x="2185085" y="2021996"/>
                        </a:cubicBezTo>
                        <a:cubicBezTo>
                          <a:pt x="2184833" y="2317166"/>
                          <a:pt x="2177022" y="2526066"/>
                          <a:pt x="2172991" y="2814106"/>
                        </a:cubicBezTo>
                        <a:cubicBezTo>
                          <a:pt x="2172990" y="2806363"/>
                          <a:pt x="2185085" y="1988562"/>
                          <a:pt x="2171066" y="2814106"/>
                        </a:cubicBezTo>
                        <a:lnTo>
                          <a:pt x="1378954" y="2814106"/>
                        </a:lnTo>
                        <a:cubicBezTo>
                          <a:pt x="1278507" y="2814106"/>
                          <a:pt x="1707715" y="2098327"/>
                          <a:pt x="1090918" y="2096167"/>
                        </a:cubicBezTo>
                        <a:cubicBezTo>
                          <a:pt x="463980" y="2103807"/>
                          <a:pt x="894454" y="2816656"/>
                          <a:pt x="802874" y="2816656"/>
                        </a:cubicBezTo>
                        <a:lnTo>
                          <a:pt x="10766" y="2814106"/>
                        </a:lnTo>
                        <a:cubicBezTo>
                          <a:pt x="9938" y="2504002"/>
                          <a:pt x="9113" y="2410299"/>
                          <a:pt x="8285" y="2100195"/>
                        </a:cubicBezTo>
                        <a:cubicBezTo>
                          <a:pt x="180335" y="1749817"/>
                          <a:pt x="677775" y="2422799"/>
                          <a:pt x="681661" y="1667396"/>
                        </a:cubicBezTo>
                        <a:cubicBezTo>
                          <a:pt x="657364" y="995490"/>
                          <a:pt x="138929" y="1691080"/>
                          <a:pt x="8285" y="1450996"/>
                        </a:cubicBezTo>
                        <a:cubicBezTo>
                          <a:pt x="0" y="873878"/>
                          <a:pt x="15832" y="1230020"/>
                          <a:pt x="10766" y="653806"/>
                        </a:cubicBez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9" name="Freihandform 118"/>
                  <p:cNvSpPr/>
                  <p:nvPr/>
                </p:nvSpPr>
                <p:spPr>
                  <a:xfrm rot="10800000">
                    <a:off x="5243998" y="2050804"/>
                    <a:ext cx="2174318" cy="352848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0" name="Freihandform 119"/>
                  <p:cNvSpPr/>
                  <p:nvPr/>
                </p:nvSpPr>
                <p:spPr>
                  <a:xfrm rot="16200000">
                    <a:off x="4922831" y="4520537"/>
                    <a:ext cx="2174318" cy="2816654"/>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24298"/>
                      <a:gd name="connsiteX1" fmla="*/ 792113 w 2174319"/>
                      <a:gd name="connsiteY1" fmla="*/ 653806 h 2824298"/>
                      <a:gd name="connsiteX2" fmla="*/ 1094168 w 2174319"/>
                      <a:gd name="connsiteY2" fmla="*/ 0 h 2824298"/>
                      <a:gd name="connsiteX3" fmla="*/ 1382211 w 2174319"/>
                      <a:gd name="connsiteY3" fmla="*/ 662108 h 2824298"/>
                      <a:gd name="connsiteX4" fmla="*/ 2160300 w 2174319"/>
                      <a:gd name="connsiteY4" fmla="*/ 653806 h 2824298"/>
                      <a:gd name="connsiteX5" fmla="*/ 2174319 w 2174319"/>
                      <a:gd name="connsiteY5" fmla="*/ 1373906 h 2824298"/>
                      <a:gd name="connsiteX6" fmla="*/ 2174319 w 2174319"/>
                      <a:gd name="connsiteY6" fmla="*/ 1445916 h 2824298"/>
                      <a:gd name="connsiteX7" fmla="*/ 1512208 w 2174319"/>
                      <a:gd name="connsiteY7" fmla="*/ 1733956 h 2824298"/>
                      <a:gd name="connsiteX8" fmla="*/ 2174319 w 2174319"/>
                      <a:gd name="connsiteY8" fmla="*/ 2021996 h 2824298"/>
                      <a:gd name="connsiteX9" fmla="*/ 2162225 w 2174319"/>
                      <a:gd name="connsiteY9" fmla="*/ 2814106 h 2824298"/>
                      <a:gd name="connsiteX10" fmla="*/ 2160300 w 2174319"/>
                      <a:gd name="connsiteY10" fmla="*/ 2814106 h 2824298"/>
                      <a:gd name="connsiteX11" fmla="*/ 1368188 w 2174319"/>
                      <a:gd name="connsiteY11" fmla="*/ 2814106 h 2824298"/>
                      <a:gd name="connsiteX12" fmla="*/ 1018508 w 2174319"/>
                      <a:gd name="connsiteY12" fmla="*/ 2816658 h 2824298"/>
                      <a:gd name="connsiteX13" fmla="*/ 792108 w 2174319"/>
                      <a:gd name="connsiteY13" fmla="*/ 2816656 h 2824298"/>
                      <a:gd name="connsiteX14" fmla="*/ 0 w 2174319"/>
                      <a:gd name="connsiteY14" fmla="*/ 2814106 h 2824298"/>
                      <a:gd name="connsiteX15" fmla="*/ 0 w 2174319"/>
                      <a:gd name="connsiteY15" fmla="*/ 653806 h 2824298"/>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792108 w 2174319"/>
                      <a:gd name="connsiteY12" fmla="*/ 2816656 h 2816656"/>
                      <a:gd name="connsiteX13" fmla="*/ 0 w 2174319"/>
                      <a:gd name="connsiteY13" fmla="*/ 2814106 h 2816656"/>
                      <a:gd name="connsiteX14" fmla="*/ 0 w 2174319"/>
                      <a:gd name="connsiteY14"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4319" h="2816656">
                        <a:moveTo>
                          <a:pt x="0" y="653806"/>
                        </a:moveTo>
                        <a:lnTo>
                          <a:pt x="792113" y="653806"/>
                        </a:lnTo>
                        <a:cubicBezTo>
                          <a:pt x="954905" y="469129"/>
                          <a:pt x="434186" y="71335"/>
                          <a:pt x="1094168" y="0"/>
                        </a:cubicBezTo>
                        <a:cubicBezTo>
                          <a:pt x="1693169" y="26685"/>
                          <a:pt x="1338621" y="422718"/>
                          <a:pt x="1382211" y="662108"/>
                        </a:cubicBezTo>
                        <a:lnTo>
                          <a:pt x="2160300" y="653806"/>
                        </a:lnTo>
                        <a:lnTo>
                          <a:pt x="2174319" y="1373906"/>
                        </a:lnTo>
                        <a:lnTo>
                          <a:pt x="2174319" y="1445916"/>
                        </a:lnTo>
                        <a:cubicBezTo>
                          <a:pt x="2067113" y="1637932"/>
                          <a:pt x="1555551" y="1077840"/>
                          <a:pt x="1512208" y="1733956"/>
                        </a:cubicBezTo>
                        <a:cubicBezTo>
                          <a:pt x="1569532" y="2358162"/>
                          <a:pt x="2015314" y="1937031"/>
                          <a:pt x="2174319" y="2021996"/>
                        </a:cubicBezTo>
                        <a:cubicBezTo>
                          <a:pt x="2174067" y="2317166"/>
                          <a:pt x="2166256" y="2526066"/>
                          <a:pt x="2162225" y="2814106"/>
                        </a:cubicBezTo>
                        <a:cubicBezTo>
                          <a:pt x="2162224" y="2806363"/>
                          <a:pt x="2174319" y="1988562"/>
                          <a:pt x="2160300" y="2814106"/>
                        </a:cubicBezTo>
                        <a:lnTo>
                          <a:pt x="1368188" y="2814106"/>
                        </a:lnTo>
                        <a:lnTo>
                          <a:pt x="792108" y="2816656"/>
                        </a:lnTo>
                        <a:lnTo>
                          <a:pt x="0" y="2814106"/>
                        </a:lnTo>
                        <a:lnTo>
                          <a:pt x="0" y="653806"/>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1" name="Textfeld 16"/>
                  <p:cNvSpPr txBox="1"/>
                  <p:nvPr/>
                </p:nvSpPr>
                <p:spPr>
                  <a:xfrm>
                    <a:off x="5277072" y="529008"/>
                    <a:ext cx="2699681" cy="1483191"/>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with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market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expectations</a:t>
                    </a:r>
                    <a:endParaRPr lang="en-US" sz="900" dirty="0">
                      <a:solidFill>
                        <a:schemeClr val="bg1"/>
                      </a:solidFill>
                      <a:latin typeface="Arial" pitchFamily="34" charset="0"/>
                      <a:cs typeface="Arial" pitchFamily="34" charset="0"/>
                    </a:endParaRPr>
                  </a:p>
                </p:txBody>
              </p:sp>
              <p:sp>
                <p:nvSpPr>
                  <p:cNvPr id="122" name="Textfeld 18"/>
                  <p:cNvSpPr txBox="1"/>
                  <p:nvPr/>
                </p:nvSpPr>
                <p:spPr>
                  <a:xfrm>
                    <a:off x="711486" y="539082"/>
                    <a:ext cx="2699680" cy="148319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 </a:t>
                    </a:r>
                  </a:p>
                  <a:p>
                    <a:pPr algn="ctr"/>
                    <a:r>
                      <a:rPr lang="en-US" sz="900" dirty="0" smtClean="0">
                        <a:solidFill>
                          <a:schemeClr val="bg1"/>
                        </a:solidFill>
                        <a:latin typeface="Arial" pitchFamily="34" charset="0"/>
                        <a:cs typeface="Arial" pitchFamily="34" charset="0"/>
                      </a:rPr>
                      <a:t>with </a:t>
                    </a:r>
                  </a:p>
                  <a:p>
                    <a:pPr algn="ctr"/>
                    <a:r>
                      <a:rPr lang="en-US" sz="900" dirty="0" smtClean="0">
                        <a:solidFill>
                          <a:schemeClr val="bg1"/>
                        </a:solidFill>
                        <a:latin typeface="Arial" pitchFamily="34" charset="0"/>
                        <a:cs typeface="Arial" pitchFamily="34" charset="0"/>
                      </a:rPr>
                      <a:t>past</a:t>
                    </a:r>
                  </a:p>
                  <a:p>
                    <a:pPr algn="ctr"/>
                    <a:endParaRPr lang="en-US" sz="900" dirty="0">
                      <a:solidFill>
                        <a:schemeClr val="bg1"/>
                      </a:solidFill>
                      <a:latin typeface="Arial" pitchFamily="34" charset="0"/>
                      <a:cs typeface="Arial" pitchFamily="34" charset="0"/>
                    </a:endParaRPr>
                  </a:p>
                </p:txBody>
              </p:sp>
              <p:sp>
                <p:nvSpPr>
                  <p:cNvPr id="123" name="Textfeld 14"/>
                  <p:cNvSpPr txBox="1"/>
                  <p:nvPr/>
                </p:nvSpPr>
                <p:spPr>
                  <a:xfrm>
                    <a:off x="3200227" y="920696"/>
                    <a:ext cx="1801127" cy="847538"/>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Value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drivers</a:t>
                    </a:r>
                    <a:endParaRPr lang="en-US" sz="900" dirty="0">
                      <a:solidFill>
                        <a:schemeClr val="bg1"/>
                      </a:solidFill>
                      <a:latin typeface="Arial" pitchFamily="34" charset="0"/>
                      <a:cs typeface="Arial" pitchFamily="34" charset="0"/>
                    </a:endParaRPr>
                  </a:p>
                </p:txBody>
              </p:sp>
              <p:sp>
                <p:nvSpPr>
                  <p:cNvPr id="124" name="Freihandform 123"/>
                  <p:cNvSpPr/>
                  <p:nvPr/>
                </p:nvSpPr>
                <p:spPr>
                  <a:xfrm rot="16200000">
                    <a:off x="3039320" y="4158309"/>
                    <a:ext cx="2174320" cy="3528491"/>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5" name="Textfeld 25"/>
                  <p:cNvSpPr txBox="1"/>
                  <p:nvPr/>
                </p:nvSpPr>
                <p:spPr>
                  <a:xfrm>
                    <a:off x="2714826" y="5582469"/>
                    <a:ext cx="2932450" cy="1165363"/>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Product/Segment/</a:t>
                    </a:r>
                  </a:p>
                  <a:p>
                    <a:pPr algn="ctr"/>
                    <a:r>
                      <a:rPr lang="en-US" sz="900" dirty="0" smtClean="0">
                        <a:solidFill>
                          <a:schemeClr val="bg1"/>
                        </a:solidFill>
                        <a:latin typeface="Arial" pitchFamily="34" charset="0"/>
                        <a:cs typeface="Arial" pitchFamily="34" charset="0"/>
                      </a:rPr>
                      <a:t>Regions mix</a:t>
                    </a:r>
                  </a:p>
                  <a:p>
                    <a:pPr algn="ctr"/>
                    <a:r>
                      <a:rPr lang="en-US" sz="900" dirty="0" smtClean="0">
                        <a:solidFill>
                          <a:schemeClr val="bg1"/>
                        </a:solidFill>
                        <a:latin typeface="Arial" pitchFamily="34" charset="0"/>
                        <a:cs typeface="Arial" pitchFamily="34" charset="0"/>
                      </a:rPr>
                      <a:t>effects</a:t>
                    </a:r>
                    <a:endParaRPr lang="en-US" sz="900" dirty="0">
                      <a:solidFill>
                        <a:schemeClr val="bg1"/>
                      </a:solidFill>
                      <a:latin typeface="Arial" pitchFamily="34" charset="0"/>
                      <a:cs typeface="Arial" pitchFamily="34" charset="0"/>
                    </a:endParaRPr>
                  </a:p>
                </p:txBody>
              </p:sp>
            </p:grpSp>
            <p:sp>
              <p:nvSpPr>
                <p:cNvPr id="114" name="Textfeld 27"/>
                <p:cNvSpPr txBox="1"/>
                <p:nvPr/>
              </p:nvSpPr>
              <p:spPr>
                <a:xfrm>
                  <a:off x="2471076" y="2414209"/>
                  <a:ext cx="2189146" cy="1483191"/>
                </a:xfrm>
                <a:prstGeom prst="rect">
                  <a:avLst/>
                </a:prstGeom>
                <a:noFill/>
              </p:spPr>
              <p:txBody>
                <a:bodyPr wrap="square"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900" dirty="0" smtClean="0">
                    <a:solidFill>
                      <a:schemeClr val="bg1"/>
                    </a:solidFill>
                  </a:endParaRPr>
                </a:p>
                <a:p>
                  <a:pPr algn="ctr"/>
                  <a:r>
                    <a:rPr lang="en-US" sz="900" dirty="0" smtClean="0">
                      <a:solidFill>
                        <a:schemeClr val="bg1"/>
                      </a:solidFill>
                    </a:rPr>
                    <a:t>Planning analysis expenditures &amp; margins</a:t>
                  </a:r>
                  <a:endParaRPr lang="en-US" sz="900" dirty="0">
                    <a:solidFill>
                      <a:schemeClr val="bg1"/>
                    </a:solidFill>
                  </a:endParaRPr>
                </a:p>
              </p:txBody>
            </p:sp>
          </p:grpSp>
          <p:sp>
            <p:nvSpPr>
              <p:cNvPr id="88" name="Freihandform 87"/>
              <p:cNvSpPr/>
              <p:nvPr/>
            </p:nvSpPr>
            <p:spPr>
              <a:xfrm rot="5400000">
                <a:off x="1171625" y="2170078"/>
                <a:ext cx="879697" cy="1165894"/>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2880789"/>
                  <a:gd name="connsiteX1" fmla="*/ 792113 w 2174319"/>
                  <a:gd name="connsiteY1" fmla="*/ 717940 h 2880789"/>
                  <a:gd name="connsiteX2" fmla="*/ 1080152 w 2174319"/>
                  <a:gd name="connsiteY2" fmla="*/ 0 h 2880789"/>
                  <a:gd name="connsiteX3" fmla="*/ 1382211 w 2174319"/>
                  <a:gd name="connsiteY3" fmla="*/ 726242 h 2880789"/>
                  <a:gd name="connsiteX4" fmla="*/ 2160300 w 2174319"/>
                  <a:gd name="connsiteY4" fmla="*/ 717940 h 2880789"/>
                  <a:gd name="connsiteX5" fmla="*/ 2174319 w 2174319"/>
                  <a:gd name="connsiteY5" fmla="*/ 1438040 h 2880789"/>
                  <a:gd name="connsiteX6" fmla="*/ 2174319 w 2174319"/>
                  <a:gd name="connsiteY6" fmla="*/ 1510050 h 2880789"/>
                  <a:gd name="connsiteX7" fmla="*/ 1512208 w 2174319"/>
                  <a:gd name="connsiteY7" fmla="*/ 1798090 h 2880789"/>
                  <a:gd name="connsiteX8" fmla="*/ 2174319 w 2174319"/>
                  <a:gd name="connsiteY8" fmla="*/ 2086130 h 2880789"/>
                  <a:gd name="connsiteX9" fmla="*/ 2162225 w 2174319"/>
                  <a:gd name="connsiteY9" fmla="*/ 2878240 h 2880789"/>
                  <a:gd name="connsiteX10" fmla="*/ 2160300 w 2174319"/>
                  <a:gd name="connsiteY10" fmla="*/ 2878240 h 2880789"/>
                  <a:gd name="connsiteX11" fmla="*/ 1368188 w 2174319"/>
                  <a:gd name="connsiteY11" fmla="*/ 2878240 h 2880789"/>
                  <a:gd name="connsiteX12" fmla="*/ 792108 w 2174319"/>
                  <a:gd name="connsiteY12" fmla="*/ 2880790 h 2880789"/>
                  <a:gd name="connsiteX13" fmla="*/ 0 w 2174319"/>
                  <a:gd name="connsiteY13" fmla="*/ 2878240 h 2880789"/>
                  <a:gd name="connsiteX14" fmla="*/ 0 w 2174319"/>
                  <a:gd name="connsiteY14" fmla="*/ 717940 h 2880789"/>
                  <a:gd name="connsiteX0" fmla="*/ 0 w 2174319"/>
                  <a:gd name="connsiteY0" fmla="*/ 201738 h 2364587"/>
                  <a:gd name="connsiteX1" fmla="*/ 792113 w 2174319"/>
                  <a:gd name="connsiteY1" fmla="*/ 201738 h 2364587"/>
                  <a:gd name="connsiteX2" fmla="*/ 1047113 w 2174319"/>
                  <a:gd name="connsiteY2" fmla="*/ 900754 h 2364587"/>
                  <a:gd name="connsiteX3" fmla="*/ 1382211 w 2174319"/>
                  <a:gd name="connsiteY3" fmla="*/ 210040 h 2364587"/>
                  <a:gd name="connsiteX4" fmla="*/ 2160300 w 2174319"/>
                  <a:gd name="connsiteY4" fmla="*/ 201738 h 2364587"/>
                  <a:gd name="connsiteX5" fmla="*/ 2174319 w 2174319"/>
                  <a:gd name="connsiteY5" fmla="*/ 921838 h 2364587"/>
                  <a:gd name="connsiteX6" fmla="*/ 2174319 w 2174319"/>
                  <a:gd name="connsiteY6" fmla="*/ 993848 h 2364587"/>
                  <a:gd name="connsiteX7" fmla="*/ 1512208 w 2174319"/>
                  <a:gd name="connsiteY7" fmla="*/ 1281888 h 2364587"/>
                  <a:gd name="connsiteX8" fmla="*/ 2174319 w 2174319"/>
                  <a:gd name="connsiteY8" fmla="*/ 1569928 h 2364587"/>
                  <a:gd name="connsiteX9" fmla="*/ 2162225 w 2174319"/>
                  <a:gd name="connsiteY9" fmla="*/ 2362038 h 2364587"/>
                  <a:gd name="connsiteX10" fmla="*/ 2160300 w 2174319"/>
                  <a:gd name="connsiteY10" fmla="*/ 2362038 h 2364587"/>
                  <a:gd name="connsiteX11" fmla="*/ 1368188 w 2174319"/>
                  <a:gd name="connsiteY11" fmla="*/ 2362038 h 2364587"/>
                  <a:gd name="connsiteX12" fmla="*/ 792108 w 2174319"/>
                  <a:gd name="connsiteY12" fmla="*/ 2364588 h 2364587"/>
                  <a:gd name="connsiteX13" fmla="*/ 0 w 2174319"/>
                  <a:gd name="connsiteY13" fmla="*/ 2362038 h 2364587"/>
                  <a:gd name="connsiteX14" fmla="*/ 0 w 2174319"/>
                  <a:gd name="connsiteY14" fmla="*/ 201738 h 2364587"/>
                  <a:gd name="connsiteX0" fmla="*/ 0 w 2174319"/>
                  <a:gd name="connsiteY0" fmla="*/ 201738 h 2364587"/>
                  <a:gd name="connsiteX1" fmla="*/ 792113 w 2174319"/>
                  <a:gd name="connsiteY1" fmla="*/ 201738 h 2364587"/>
                  <a:gd name="connsiteX2" fmla="*/ 1047113 w 2174319"/>
                  <a:gd name="connsiteY2" fmla="*/ 900754 h 2364587"/>
                  <a:gd name="connsiteX3" fmla="*/ 1382211 w 2174319"/>
                  <a:gd name="connsiteY3" fmla="*/ 210040 h 2364587"/>
                  <a:gd name="connsiteX4" fmla="*/ 2160300 w 2174319"/>
                  <a:gd name="connsiteY4" fmla="*/ 201738 h 2364587"/>
                  <a:gd name="connsiteX5" fmla="*/ 2174319 w 2174319"/>
                  <a:gd name="connsiteY5" fmla="*/ 921838 h 2364587"/>
                  <a:gd name="connsiteX6" fmla="*/ 2174319 w 2174319"/>
                  <a:gd name="connsiteY6" fmla="*/ 993848 h 2364587"/>
                  <a:gd name="connsiteX7" fmla="*/ 1512208 w 2174319"/>
                  <a:gd name="connsiteY7" fmla="*/ 1281888 h 2364587"/>
                  <a:gd name="connsiteX8" fmla="*/ 2174319 w 2174319"/>
                  <a:gd name="connsiteY8" fmla="*/ 1569928 h 2364587"/>
                  <a:gd name="connsiteX9" fmla="*/ 2162225 w 2174319"/>
                  <a:gd name="connsiteY9" fmla="*/ 2362038 h 2364587"/>
                  <a:gd name="connsiteX10" fmla="*/ 2160300 w 2174319"/>
                  <a:gd name="connsiteY10" fmla="*/ 2362038 h 2364587"/>
                  <a:gd name="connsiteX11" fmla="*/ 1368188 w 2174319"/>
                  <a:gd name="connsiteY11" fmla="*/ 2362038 h 2364587"/>
                  <a:gd name="connsiteX12" fmla="*/ 792108 w 2174319"/>
                  <a:gd name="connsiteY12" fmla="*/ 2364588 h 2364587"/>
                  <a:gd name="connsiteX13" fmla="*/ 0 w 2174319"/>
                  <a:gd name="connsiteY13" fmla="*/ 2362038 h 2364587"/>
                  <a:gd name="connsiteX14" fmla="*/ 0 w 2174319"/>
                  <a:gd name="connsiteY14" fmla="*/ 201738 h 2364587"/>
                  <a:gd name="connsiteX0" fmla="*/ 0 w 2174319"/>
                  <a:gd name="connsiteY0" fmla="*/ 201738 h 2364587"/>
                  <a:gd name="connsiteX1" fmla="*/ 792113 w 2174319"/>
                  <a:gd name="connsiteY1" fmla="*/ 201738 h 2364587"/>
                  <a:gd name="connsiteX2" fmla="*/ 1047113 w 2174319"/>
                  <a:gd name="connsiteY2" fmla="*/ 900754 h 2364587"/>
                  <a:gd name="connsiteX3" fmla="*/ 1382211 w 2174319"/>
                  <a:gd name="connsiteY3" fmla="*/ 210040 h 2364587"/>
                  <a:gd name="connsiteX4" fmla="*/ 2160300 w 2174319"/>
                  <a:gd name="connsiteY4" fmla="*/ 201738 h 2364587"/>
                  <a:gd name="connsiteX5" fmla="*/ 2174319 w 2174319"/>
                  <a:gd name="connsiteY5" fmla="*/ 921838 h 2364587"/>
                  <a:gd name="connsiteX6" fmla="*/ 2174319 w 2174319"/>
                  <a:gd name="connsiteY6" fmla="*/ 993848 h 2364587"/>
                  <a:gd name="connsiteX7" fmla="*/ 1512208 w 2174319"/>
                  <a:gd name="connsiteY7" fmla="*/ 1281888 h 2364587"/>
                  <a:gd name="connsiteX8" fmla="*/ 2174319 w 2174319"/>
                  <a:gd name="connsiteY8" fmla="*/ 1569928 h 2364587"/>
                  <a:gd name="connsiteX9" fmla="*/ 2162225 w 2174319"/>
                  <a:gd name="connsiteY9" fmla="*/ 2362038 h 2364587"/>
                  <a:gd name="connsiteX10" fmla="*/ 2160300 w 2174319"/>
                  <a:gd name="connsiteY10" fmla="*/ 2362038 h 2364587"/>
                  <a:gd name="connsiteX11" fmla="*/ 1368188 w 2174319"/>
                  <a:gd name="connsiteY11" fmla="*/ 2362038 h 2364587"/>
                  <a:gd name="connsiteX12" fmla="*/ 792108 w 2174319"/>
                  <a:gd name="connsiteY12" fmla="*/ 2364588 h 2364587"/>
                  <a:gd name="connsiteX13" fmla="*/ 0 w 2174319"/>
                  <a:gd name="connsiteY13" fmla="*/ 2362038 h 2364587"/>
                  <a:gd name="connsiteX14" fmla="*/ 0 w 2174319"/>
                  <a:gd name="connsiteY14" fmla="*/ 201738 h 2364587"/>
                  <a:gd name="connsiteX0" fmla="*/ 0 w 2174319"/>
                  <a:gd name="connsiteY0" fmla="*/ 258973 h 2421822"/>
                  <a:gd name="connsiteX1" fmla="*/ 792113 w 2174319"/>
                  <a:gd name="connsiteY1" fmla="*/ 258973 h 2421822"/>
                  <a:gd name="connsiteX2" fmla="*/ 1047113 w 2174319"/>
                  <a:gd name="connsiteY2" fmla="*/ 957989 h 2421822"/>
                  <a:gd name="connsiteX3" fmla="*/ 1382211 w 2174319"/>
                  <a:gd name="connsiteY3" fmla="*/ 267275 h 2421822"/>
                  <a:gd name="connsiteX4" fmla="*/ 2160300 w 2174319"/>
                  <a:gd name="connsiteY4" fmla="*/ 258973 h 2421822"/>
                  <a:gd name="connsiteX5" fmla="*/ 2174319 w 2174319"/>
                  <a:gd name="connsiteY5" fmla="*/ 979073 h 2421822"/>
                  <a:gd name="connsiteX6" fmla="*/ 2174319 w 2174319"/>
                  <a:gd name="connsiteY6" fmla="*/ 1051083 h 2421822"/>
                  <a:gd name="connsiteX7" fmla="*/ 1512208 w 2174319"/>
                  <a:gd name="connsiteY7" fmla="*/ 1339123 h 2421822"/>
                  <a:gd name="connsiteX8" fmla="*/ 2174319 w 2174319"/>
                  <a:gd name="connsiteY8" fmla="*/ 1627163 h 2421822"/>
                  <a:gd name="connsiteX9" fmla="*/ 2162225 w 2174319"/>
                  <a:gd name="connsiteY9" fmla="*/ 2419273 h 2421822"/>
                  <a:gd name="connsiteX10" fmla="*/ 2160300 w 2174319"/>
                  <a:gd name="connsiteY10" fmla="*/ 2419273 h 2421822"/>
                  <a:gd name="connsiteX11" fmla="*/ 1368188 w 2174319"/>
                  <a:gd name="connsiteY11" fmla="*/ 2419273 h 2421822"/>
                  <a:gd name="connsiteX12" fmla="*/ 792108 w 2174319"/>
                  <a:gd name="connsiteY12" fmla="*/ 2421823 h 2421822"/>
                  <a:gd name="connsiteX13" fmla="*/ 0 w 2174319"/>
                  <a:gd name="connsiteY13" fmla="*/ 2419273 h 2421822"/>
                  <a:gd name="connsiteX14" fmla="*/ 0 w 2174319"/>
                  <a:gd name="connsiteY14" fmla="*/ 258973 h 2421822"/>
                  <a:gd name="connsiteX0" fmla="*/ 0 w 2174319"/>
                  <a:gd name="connsiteY0" fmla="*/ 125596 h 2288445"/>
                  <a:gd name="connsiteX1" fmla="*/ 792113 w 2174319"/>
                  <a:gd name="connsiteY1" fmla="*/ 125596 h 2288445"/>
                  <a:gd name="connsiteX2" fmla="*/ 1047113 w 2174319"/>
                  <a:gd name="connsiteY2" fmla="*/ 824612 h 2288445"/>
                  <a:gd name="connsiteX3" fmla="*/ 1382211 w 2174319"/>
                  <a:gd name="connsiteY3" fmla="*/ 133898 h 2288445"/>
                  <a:gd name="connsiteX4" fmla="*/ 2160300 w 2174319"/>
                  <a:gd name="connsiteY4" fmla="*/ 125596 h 2288445"/>
                  <a:gd name="connsiteX5" fmla="*/ 2174319 w 2174319"/>
                  <a:gd name="connsiteY5" fmla="*/ 845696 h 2288445"/>
                  <a:gd name="connsiteX6" fmla="*/ 2174319 w 2174319"/>
                  <a:gd name="connsiteY6" fmla="*/ 917706 h 2288445"/>
                  <a:gd name="connsiteX7" fmla="*/ 1512208 w 2174319"/>
                  <a:gd name="connsiteY7" fmla="*/ 1205746 h 2288445"/>
                  <a:gd name="connsiteX8" fmla="*/ 2174319 w 2174319"/>
                  <a:gd name="connsiteY8" fmla="*/ 1493786 h 2288445"/>
                  <a:gd name="connsiteX9" fmla="*/ 2162225 w 2174319"/>
                  <a:gd name="connsiteY9" fmla="*/ 2285896 h 2288445"/>
                  <a:gd name="connsiteX10" fmla="*/ 2160300 w 2174319"/>
                  <a:gd name="connsiteY10" fmla="*/ 2285896 h 2288445"/>
                  <a:gd name="connsiteX11" fmla="*/ 1368188 w 2174319"/>
                  <a:gd name="connsiteY11" fmla="*/ 2285896 h 2288445"/>
                  <a:gd name="connsiteX12" fmla="*/ 792108 w 2174319"/>
                  <a:gd name="connsiteY12" fmla="*/ 2288446 h 2288445"/>
                  <a:gd name="connsiteX13" fmla="*/ 0 w 2174319"/>
                  <a:gd name="connsiteY13" fmla="*/ 2285896 h 2288445"/>
                  <a:gd name="connsiteX14" fmla="*/ 0 w 2174319"/>
                  <a:gd name="connsiteY14" fmla="*/ 125596 h 2288445"/>
                  <a:gd name="connsiteX0" fmla="*/ 0 w 2174319"/>
                  <a:gd name="connsiteY0" fmla="*/ 125596 h 2288445"/>
                  <a:gd name="connsiteX1" fmla="*/ 792113 w 2174319"/>
                  <a:gd name="connsiteY1" fmla="*/ 125596 h 2288445"/>
                  <a:gd name="connsiteX2" fmla="*/ 1047113 w 2174319"/>
                  <a:gd name="connsiteY2" fmla="*/ 824612 h 2288445"/>
                  <a:gd name="connsiteX3" fmla="*/ 1382211 w 2174319"/>
                  <a:gd name="connsiteY3" fmla="*/ 133898 h 2288445"/>
                  <a:gd name="connsiteX4" fmla="*/ 2160300 w 2174319"/>
                  <a:gd name="connsiteY4" fmla="*/ 125596 h 2288445"/>
                  <a:gd name="connsiteX5" fmla="*/ 2174319 w 2174319"/>
                  <a:gd name="connsiteY5" fmla="*/ 845696 h 2288445"/>
                  <a:gd name="connsiteX6" fmla="*/ 2174319 w 2174319"/>
                  <a:gd name="connsiteY6" fmla="*/ 917706 h 2288445"/>
                  <a:gd name="connsiteX7" fmla="*/ 1512208 w 2174319"/>
                  <a:gd name="connsiteY7" fmla="*/ 1205746 h 2288445"/>
                  <a:gd name="connsiteX8" fmla="*/ 2174319 w 2174319"/>
                  <a:gd name="connsiteY8" fmla="*/ 1493786 h 2288445"/>
                  <a:gd name="connsiteX9" fmla="*/ 2162225 w 2174319"/>
                  <a:gd name="connsiteY9" fmla="*/ 2285896 h 2288445"/>
                  <a:gd name="connsiteX10" fmla="*/ 2160300 w 2174319"/>
                  <a:gd name="connsiteY10" fmla="*/ 2285896 h 2288445"/>
                  <a:gd name="connsiteX11" fmla="*/ 1368188 w 2174319"/>
                  <a:gd name="connsiteY11" fmla="*/ 2285896 h 2288445"/>
                  <a:gd name="connsiteX12" fmla="*/ 792108 w 2174319"/>
                  <a:gd name="connsiteY12" fmla="*/ 2288446 h 2288445"/>
                  <a:gd name="connsiteX13" fmla="*/ 0 w 2174319"/>
                  <a:gd name="connsiteY13" fmla="*/ 2285896 h 2288445"/>
                  <a:gd name="connsiteX14" fmla="*/ 0 w 2174319"/>
                  <a:gd name="connsiteY14" fmla="*/ 125596 h 2288445"/>
                  <a:gd name="connsiteX0" fmla="*/ 0 w 2174319"/>
                  <a:gd name="connsiteY0" fmla="*/ 78914 h 2241763"/>
                  <a:gd name="connsiteX1" fmla="*/ 792113 w 2174319"/>
                  <a:gd name="connsiteY1" fmla="*/ 78914 h 2241763"/>
                  <a:gd name="connsiteX2" fmla="*/ 1047113 w 2174319"/>
                  <a:gd name="connsiteY2" fmla="*/ 777930 h 2241763"/>
                  <a:gd name="connsiteX3" fmla="*/ 1382211 w 2174319"/>
                  <a:gd name="connsiteY3" fmla="*/ 87216 h 2241763"/>
                  <a:gd name="connsiteX4" fmla="*/ 2160300 w 2174319"/>
                  <a:gd name="connsiteY4" fmla="*/ 78914 h 2241763"/>
                  <a:gd name="connsiteX5" fmla="*/ 2174319 w 2174319"/>
                  <a:gd name="connsiteY5" fmla="*/ 799014 h 2241763"/>
                  <a:gd name="connsiteX6" fmla="*/ 2174319 w 2174319"/>
                  <a:gd name="connsiteY6" fmla="*/ 871024 h 2241763"/>
                  <a:gd name="connsiteX7" fmla="*/ 1512208 w 2174319"/>
                  <a:gd name="connsiteY7" fmla="*/ 1159064 h 2241763"/>
                  <a:gd name="connsiteX8" fmla="*/ 2174319 w 2174319"/>
                  <a:gd name="connsiteY8" fmla="*/ 1447104 h 2241763"/>
                  <a:gd name="connsiteX9" fmla="*/ 2162225 w 2174319"/>
                  <a:gd name="connsiteY9" fmla="*/ 2239214 h 2241763"/>
                  <a:gd name="connsiteX10" fmla="*/ 2160300 w 2174319"/>
                  <a:gd name="connsiteY10" fmla="*/ 2239214 h 2241763"/>
                  <a:gd name="connsiteX11" fmla="*/ 1368188 w 2174319"/>
                  <a:gd name="connsiteY11" fmla="*/ 2239214 h 2241763"/>
                  <a:gd name="connsiteX12" fmla="*/ 792108 w 2174319"/>
                  <a:gd name="connsiteY12" fmla="*/ 2241764 h 2241763"/>
                  <a:gd name="connsiteX13" fmla="*/ 0 w 2174319"/>
                  <a:gd name="connsiteY13" fmla="*/ 2239214 h 2241763"/>
                  <a:gd name="connsiteX14" fmla="*/ 0 w 2174319"/>
                  <a:gd name="connsiteY14" fmla="*/ 78914 h 224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4319" h="2241763">
                    <a:moveTo>
                      <a:pt x="0" y="78914"/>
                    </a:moveTo>
                    <a:lnTo>
                      <a:pt x="792113" y="78914"/>
                    </a:lnTo>
                    <a:cubicBezTo>
                      <a:pt x="1002503" y="54885"/>
                      <a:pt x="491626" y="611899"/>
                      <a:pt x="1047113" y="777930"/>
                    </a:cubicBezTo>
                    <a:cubicBezTo>
                      <a:pt x="1728579" y="701289"/>
                      <a:pt x="1107421" y="-1"/>
                      <a:pt x="1382211" y="87216"/>
                    </a:cubicBezTo>
                    <a:lnTo>
                      <a:pt x="2160300" y="78914"/>
                    </a:lnTo>
                    <a:lnTo>
                      <a:pt x="2174319" y="799014"/>
                    </a:lnTo>
                    <a:lnTo>
                      <a:pt x="2174319" y="871024"/>
                    </a:lnTo>
                    <a:cubicBezTo>
                      <a:pt x="2067113" y="1063040"/>
                      <a:pt x="1555551" y="502948"/>
                      <a:pt x="1512208" y="1159064"/>
                    </a:cubicBezTo>
                    <a:cubicBezTo>
                      <a:pt x="1569532" y="1783270"/>
                      <a:pt x="2015314" y="1362139"/>
                      <a:pt x="2174319" y="1447104"/>
                    </a:cubicBezTo>
                    <a:cubicBezTo>
                      <a:pt x="2174067" y="1742274"/>
                      <a:pt x="2166256" y="1951174"/>
                      <a:pt x="2162225" y="2239214"/>
                    </a:cubicBezTo>
                    <a:cubicBezTo>
                      <a:pt x="2162224" y="2231471"/>
                      <a:pt x="2174319" y="1413670"/>
                      <a:pt x="2160300" y="2239214"/>
                    </a:cubicBezTo>
                    <a:lnTo>
                      <a:pt x="1368188" y="2239214"/>
                    </a:lnTo>
                    <a:lnTo>
                      <a:pt x="792108" y="2241764"/>
                    </a:lnTo>
                    <a:lnTo>
                      <a:pt x="0" y="2239214"/>
                    </a:lnTo>
                    <a:lnTo>
                      <a:pt x="0" y="78914"/>
                    </a:lnTo>
                    <a:close/>
                  </a:path>
                </a:pathLst>
              </a:cu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9" name="Textfeld 27"/>
              <p:cNvSpPr txBox="1"/>
              <p:nvPr/>
            </p:nvSpPr>
            <p:spPr>
              <a:xfrm>
                <a:off x="789797" y="3395818"/>
                <a:ext cx="1622281" cy="34717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rPr>
                  <a:t>Analysis </a:t>
                </a:r>
                <a:br>
                  <a:rPr lang="en-US" sz="900" dirty="0" smtClean="0">
                    <a:solidFill>
                      <a:schemeClr val="bg1"/>
                    </a:solidFill>
                  </a:rPr>
                </a:br>
                <a:r>
                  <a:rPr lang="en-US" sz="900" dirty="0" smtClean="0">
                    <a:solidFill>
                      <a:schemeClr val="bg1"/>
                    </a:solidFill>
                  </a:rPr>
                  <a:t>of past</a:t>
                </a:r>
                <a:r>
                  <a:rPr lang="en-US" sz="900" baseline="30000" dirty="0" smtClean="0">
                    <a:solidFill>
                      <a:schemeClr val="bg1"/>
                    </a:solidFill>
                  </a:rPr>
                  <a:t>(b)</a:t>
                </a:r>
                <a:endParaRPr lang="en-US" sz="900" baseline="30000" dirty="0">
                  <a:solidFill>
                    <a:schemeClr val="bg1"/>
                  </a:solidFill>
                </a:endParaRPr>
              </a:p>
            </p:txBody>
          </p:sp>
          <p:sp>
            <p:nvSpPr>
              <p:cNvPr id="90" name="Freihandform 89"/>
              <p:cNvSpPr/>
              <p:nvPr/>
            </p:nvSpPr>
            <p:spPr>
              <a:xfrm rot="10800000">
                <a:off x="2512295" y="2943105"/>
                <a:ext cx="1481830" cy="1427575"/>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1817 w 2174319"/>
                  <a:gd name="connsiteY15" fmla="*/ 2065560 h 3528490"/>
                  <a:gd name="connsiteX16" fmla="*/ 0 w 2174319"/>
                  <a:gd name="connsiteY16"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1817 w 2174319"/>
                  <a:gd name="connsiteY15" fmla="*/ 2065560 h 3528490"/>
                  <a:gd name="connsiteX16" fmla="*/ 0 w 2174319"/>
                  <a:gd name="connsiteY16" fmla="*/ 717940 h 3528490"/>
                  <a:gd name="connsiteX17" fmla="*/ 1817 w 2174319"/>
                  <a:gd name="connsiteY17" fmla="*/ 705886 h 3528490"/>
                  <a:gd name="connsiteX0" fmla="*/ 4056 w 2178375"/>
                  <a:gd name="connsiteY0" fmla="*/ 717940 h 3528490"/>
                  <a:gd name="connsiteX1" fmla="*/ 796169 w 2178375"/>
                  <a:gd name="connsiteY1" fmla="*/ 717940 h 3528490"/>
                  <a:gd name="connsiteX2" fmla="*/ 1084208 w 2178375"/>
                  <a:gd name="connsiteY2" fmla="*/ 0 h 3528490"/>
                  <a:gd name="connsiteX3" fmla="*/ 1386267 w 2178375"/>
                  <a:gd name="connsiteY3" fmla="*/ 726242 h 3528490"/>
                  <a:gd name="connsiteX4" fmla="*/ 2164356 w 2178375"/>
                  <a:gd name="connsiteY4" fmla="*/ 717940 h 3528490"/>
                  <a:gd name="connsiteX5" fmla="*/ 2178375 w 2178375"/>
                  <a:gd name="connsiteY5" fmla="*/ 1438040 h 3528490"/>
                  <a:gd name="connsiteX6" fmla="*/ 2178375 w 2178375"/>
                  <a:gd name="connsiteY6" fmla="*/ 1510050 h 3528490"/>
                  <a:gd name="connsiteX7" fmla="*/ 1516264 w 2178375"/>
                  <a:gd name="connsiteY7" fmla="*/ 1798090 h 3528490"/>
                  <a:gd name="connsiteX8" fmla="*/ 2178375 w 2178375"/>
                  <a:gd name="connsiteY8" fmla="*/ 2086130 h 3528490"/>
                  <a:gd name="connsiteX9" fmla="*/ 2166281 w 2178375"/>
                  <a:gd name="connsiteY9" fmla="*/ 2878240 h 3528490"/>
                  <a:gd name="connsiteX10" fmla="*/ 2164356 w 2178375"/>
                  <a:gd name="connsiteY10" fmla="*/ 2878240 h 3528490"/>
                  <a:gd name="connsiteX11" fmla="*/ 1372244 w 2178375"/>
                  <a:gd name="connsiteY11" fmla="*/ 2878240 h 3528490"/>
                  <a:gd name="connsiteX12" fmla="*/ 1084204 w 2178375"/>
                  <a:gd name="connsiteY12" fmla="*/ 3526330 h 3528490"/>
                  <a:gd name="connsiteX13" fmla="*/ 796164 w 2178375"/>
                  <a:gd name="connsiteY13" fmla="*/ 2880790 h 3528490"/>
                  <a:gd name="connsiteX14" fmla="*/ 4056 w 2178375"/>
                  <a:gd name="connsiteY14" fmla="*/ 2878240 h 3528490"/>
                  <a:gd name="connsiteX15" fmla="*/ 5873 w 2178375"/>
                  <a:gd name="connsiteY15" fmla="*/ 2065560 h 3528490"/>
                  <a:gd name="connsiteX16" fmla="*/ 304 w 2178375"/>
                  <a:gd name="connsiteY16" fmla="*/ 1414348 h 3528490"/>
                  <a:gd name="connsiteX17" fmla="*/ 4056 w 2178375"/>
                  <a:gd name="connsiteY17" fmla="*/ 717940 h 3528490"/>
                  <a:gd name="connsiteX18" fmla="*/ 5873 w 2178375"/>
                  <a:gd name="connsiteY18" fmla="*/ 705886 h 3528490"/>
                  <a:gd name="connsiteX19" fmla="*/ 4056 w 2178375"/>
                  <a:gd name="connsiteY19" fmla="*/ 717940 h 3528490"/>
                  <a:gd name="connsiteX0" fmla="*/ 5655 w 2179974"/>
                  <a:gd name="connsiteY0" fmla="*/ 717940 h 3528490"/>
                  <a:gd name="connsiteX1" fmla="*/ 797768 w 2179974"/>
                  <a:gd name="connsiteY1" fmla="*/ 717940 h 3528490"/>
                  <a:gd name="connsiteX2" fmla="*/ 1085807 w 2179974"/>
                  <a:gd name="connsiteY2" fmla="*/ 0 h 3528490"/>
                  <a:gd name="connsiteX3" fmla="*/ 1387866 w 2179974"/>
                  <a:gd name="connsiteY3" fmla="*/ 726242 h 3528490"/>
                  <a:gd name="connsiteX4" fmla="*/ 2165955 w 2179974"/>
                  <a:gd name="connsiteY4" fmla="*/ 717940 h 3528490"/>
                  <a:gd name="connsiteX5" fmla="*/ 2179974 w 2179974"/>
                  <a:gd name="connsiteY5" fmla="*/ 1438040 h 3528490"/>
                  <a:gd name="connsiteX6" fmla="*/ 2179974 w 2179974"/>
                  <a:gd name="connsiteY6" fmla="*/ 1510050 h 3528490"/>
                  <a:gd name="connsiteX7" fmla="*/ 1517863 w 2179974"/>
                  <a:gd name="connsiteY7" fmla="*/ 1798090 h 3528490"/>
                  <a:gd name="connsiteX8" fmla="*/ 2179974 w 2179974"/>
                  <a:gd name="connsiteY8" fmla="*/ 2086130 h 3528490"/>
                  <a:gd name="connsiteX9" fmla="*/ 2167880 w 2179974"/>
                  <a:gd name="connsiteY9" fmla="*/ 2878240 h 3528490"/>
                  <a:gd name="connsiteX10" fmla="*/ 2165955 w 2179974"/>
                  <a:gd name="connsiteY10" fmla="*/ 2878240 h 3528490"/>
                  <a:gd name="connsiteX11" fmla="*/ 1373843 w 2179974"/>
                  <a:gd name="connsiteY11" fmla="*/ 2878240 h 3528490"/>
                  <a:gd name="connsiteX12" fmla="*/ 1085803 w 2179974"/>
                  <a:gd name="connsiteY12" fmla="*/ 3526330 h 3528490"/>
                  <a:gd name="connsiteX13" fmla="*/ 797763 w 2179974"/>
                  <a:gd name="connsiteY13" fmla="*/ 2880790 h 3528490"/>
                  <a:gd name="connsiteX14" fmla="*/ 5655 w 2179974"/>
                  <a:gd name="connsiteY14" fmla="*/ 2878240 h 3528490"/>
                  <a:gd name="connsiteX15" fmla="*/ 7472 w 2179974"/>
                  <a:gd name="connsiteY15" fmla="*/ 2065560 h 3528490"/>
                  <a:gd name="connsiteX16" fmla="*/ 1903 w 2179974"/>
                  <a:gd name="connsiteY16" fmla="*/ 1414348 h 3528490"/>
                  <a:gd name="connsiteX17" fmla="*/ 5655 w 2179974"/>
                  <a:gd name="connsiteY17" fmla="*/ 717940 h 3528490"/>
                  <a:gd name="connsiteX18" fmla="*/ 7472 w 2179974"/>
                  <a:gd name="connsiteY18" fmla="*/ 705886 h 3528490"/>
                  <a:gd name="connsiteX19" fmla="*/ 5655 w 2179974"/>
                  <a:gd name="connsiteY19" fmla="*/ 717940 h 3528490"/>
                  <a:gd name="connsiteX0" fmla="*/ 10244 w 2184563"/>
                  <a:gd name="connsiteY0" fmla="*/ 717940 h 3528490"/>
                  <a:gd name="connsiteX1" fmla="*/ 802357 w 2184563"/>
                  <a:gd name="connsiteY1" fmla="*/ 717940 h 3528490"/>
                  <a:gd name="connsiteX2" fmla="*/ 1090396 w 2184563"/>
                  <a:gd name="connsiteY2" fmla="*/ 0 h 3528490"/>
                  <a:gd name="connsiteX3" fmla="*/ 1392455 w 2184563"/>
                  <a:gd name="connsiteY3" fmla="*/ 726242 h 3528490"/>
                  <a:gd name="connsiteX4" fmla="*/ 2170544 w 2184563"/>
                  <a:gd name="connsiteY4" fmla="*/ 717940 h 3528490"/>
                  <a:gd name="connsiteX5" fmla="*/ 2184563 w 2184563"/>
                  <a:gd name="connsiteY5" fmla="*/ 1438040 h 3528490"/>
                  <a:gd name="connsiteX6" fmla="*/ 2184563 w 2184563"/>
                  <a:gd name="connsiteY6" fmla="*/ 1510050 h 3528490"/>
                  <a:gd name="connsiteX7" fmla="*/ 1522452 w 2184563"/>
                  <a:gd name="connsiteY7" fmla="*/ 1798090 h 3528490"/>
                  <a:gd name="connsiteX8" fmla="*/ 2184563 w 2184563"/>
                  <a:gd name="connsiteY8" fmla="*/ 2086130 h 3528490"/>
                  <a:gd name="connsiteX9" fmla="*/ 2172469 w 2184563"/>
                  <a:gd name="connsiteY9" fmla="*/ 2878240 h 3528490"/>
                  <a:gd name="connsiteX10" fmla="*/ 2170544 w 2184563"/>
                  <a:gd name="connsiteY10" fmla="*/ 2878240 h 3528490"/>
                  <a:gd name="connsiteX11" fmla="*/ 1378432 w 2184563"/>
                  <a:gd name="connsiteY11" fmla="*/ 2878240 h 3528490"/>
                  <a:gd name="connsiteX12" fmla="*/ 1090392 w 2184563"/>
                  <a:gd name="connsiteY12" fmla="*/ 3526330 h 3528490"/>
                  <a:gd name="connsiteX13" fmla="*/ 802352 w 2184563"/>
                  <a:gd name="connsiteY13" fmla="*/ 2880790 h 3528490"/>
                  <a:gd name="connsiteX14" fmla="*/ 10244 w 2184563"/>
                  <a:gd name="connsiteY14" fmla="*/ 2878240 h 3528490"/>
                  <a:gd name="connsiteX15" fmla="*/ 12061 w 2184563"/>
                  <a:gd name="connsiteY15" fmla="*/ 2065560 h 3528490"/>
                  <a:gd name="connsiteX16" fmla="*/ 928 w 2184563"/>
                  <a:gd name="connsiteY16" fmla="*/ 1722064 h 3528490"/>
                  <a:gd name="connsiteX17" fmla="*/ 6492 w 2184563"/>
                  <a:gd name="connsiteY17" fmla="*/ 1414348 h 3528490"/>
                  <a:gd name="connsiteX18" fmla="*/ 10244 w 2184563"/>
                  <a:gd name="connsiteY18" fmla="*/ 717940 h 3528490"/>
                  <a:gd name="connsiteX19" fmla="*/ 12061 w 2184563"/>
                  <a:gd name="connsiteY19" fmla="*/ 705886 h 3528490"/>
                  <a:gd name="connsiteX20" fmla="*/ 10244 w 2184563"/>
                  <a:gd name="connsiteY20" fmla="*/ 717940 h 3528490"/>
                  <a:gd name="connsiteX0" fmla="*/ 675848 w 2850167"/>
                  <a:gd name="connsiteY0" fmla="*/ 717940 h 3528490"/>
                  <a:gd name="connsiteX1" fmla="*/ 1467961 w 2850167"/>
                  <a:gd name="connsiteY1" fmla="*/ 717940 h 3528490"/>
                  <a:gd name="connsiteX2" fmla="*/ 1756000 w 2850167"/>
                  <a:gd name="connsiteY2" fmla="*/ 0 h 3528490"/>
                  <a:gd name="connsiteX3" fmla="*/ 2058059 w 2850167"/>
                  <a:gd name="connsiteY3" fmla="*/ 726242 h 3528490"/>
                  <a:gd name="connsiteX4" fmla="*/ 2836148 w 2850167"/>
                  <a:gd name="connsiteY4" fmla="*/ 717940 h 3528490"/>
                  <a:gd name="connsiteX5" fmla="*/ 2850167 w 2850167"/>
                  <a:gd name="connsiteY5" fmla="*/ 1438040 h 3528490"/>
                  <a:gd name="connsiteX6" fmla="*/ 2850167 w 2850167"/>
                  <a:gd name="connsiteY6" fmla="*/ 1510050 h 3528490"/>
                  <a:gd name="connsiteX7" fmla="*/ 2188056 w 2850167"/>
                  <a:gd name="connsiteY7" fmla="*/ 1798090 h 3528490"/>
                  <a:gd name="connsiteX8" fmla="*/ 2850167 w 2850167"/>
                  <a:gd name="connsiteY8" fmla="*/ 2086130 h 3528490"/>
                  <a:gd name="connsiteX9" fmla="*/ 2838073 w 2850167"/>
                  <a:gd name="connsiteY9" fmla="*/ 2878240 h 3528490"/>
                  <a:gd name="connsiteX10" fmla="*/ 2836148 w 2850167"/>
                  <a:gd name="connsiteY10" fmla="*/ 2878240 h 3528490"/>
                  <a:gd name="connsiteX11" fmla="*/ 2044036 w 2850167"/>
                  <a:gd name="connsiteY11" fmla="*/ 2878240 h 3528490"/>
                  <a:gd name="connsiteX12" fmla="*/ 1755996 w 2850167"/>
                  <a:gd name="connsiteY12" fmla="*/ 3526330 h 3528490"/>
                  <a:gd name="connsiteX13" fmla="*/ 1467956 w 2850167"/>
                  <a:gd name="connsiteY13" fmla="*/ 2880790 h 3528490"/>
                  <a:gd name="connsiteX14" fmla="*/ 675848 w 2850167"/>
                  <a:gd name="connsiteY14" fmla="*/ 2878240 h 3528490"/>
                  <a:gd name="connsiteX15" fmla="*/ 677665 w 2850167"/>
                  <a:gd name="connsiteY15" fmla="*/ 2065560 h 3528490"/>
                  <a:gd name="connsiteX16" fmla="*/ 928 w 2850167"/>
                  <a:gd name="connsiteY16" fmla="*/ 1629332 h 3528490"/>
                  <a:gd name="connsiteX17" fmla="*/ 672096 w 2850167"/>
                  <a:gd name="connsiteY17" fmla="*/ 1414348 h 3528490"/>
                  <a:gd name="connsiteX18" fmla="*/ 675848 w 2850167"/>
                  <a:gd name="connsiteY18" fmla="*/ 717940 h 3528490"/>
                  <a:gd name="connsiteX19" fmla="*/ 677665 w 2850167"/>
                  <a:gd name="connsiteY19" fmla="*/ 705886 h 3528490"/>
                  <a:gd name="connsiteX20" fmla="*/ 675848 w 2850167"/>
                  <a:gd name="connsiteY20" fmla="*/ 717940 h 3528490"/>
                  <a:gd name="connsiteX0" fmla="*/ 675481 w 2849800"/>
                  <a:gd name="connsiteY0" fmla="*/ 717940 h 3528490"/>
                  <a:gd name="connsiteX1" fmla="*/ 1467594 w 2849800"/>
                  <a:gd name="connsiteY1" fmla="*/ 717940 h 3528490"/>
                  <a:gd name="connsiteX2" fmla="*/ 1755633 w 2849800"/>
                  <a:gd name="connsiteY2" fmla="*/ 0 h 3528490"/>
                  <a:gd name="connsiteX3" fmla="*/ 2057692 w 2849800"/>
                  <a:gd name="connsiteY3" fmla="*/ 726242 h 3528490"/>
                  <a:gd name="connsiteX4" fmla="*/ 2835781 w 2849800"/>
                  <a:gd name="connsiteY4" fmla="*/ 717940 h 3528490"/>
                  <a:gd name="connsiteX5" fmla="*/ 2849800 w 2849800"/>
                  <a:gd name="connsiteY5" fmla="*/ 1438040 h 3528490"/>
                  <a:gd name="connsiteX6" fmla="*/ 2849800 w 2849800"/>
                  <a:gd name="connsiteY6" fmla="*/ 1510050 h 3528490"/>
                  <a:gd name="connsiteX7" fmla="*/ 2187689 w 2849800"/>
                  <a:gd name="connsiteY7" fmla="*/ 1798090 h 3528490"/>
                  <a:gd name="connsiteX8" fmla="*/ 2849800 w 2849800"/>
                  <a:gd name="connsiteY8" fmla="*/ 2086130 h 3528490"/>
                  <a:gd name="connsiteX9" fmla="*/ 2837706 w 2849800"/>
                  <a:gd name="connsiteY9" fmla="*/ 2878240 h 3528490"/>
                  <a:gd name="connsiteX10" fmla="*/ 2835781 w 2849800"/>
                  <a:gd name="connsiteY10" fmla="*/ 2878240 h 3528490"/>
                  <a:gd name="connsiteX11" fmla="*/ 2043669 w 2849800"/>
                  <a:gd name="connsiteY11" fmla="*/ 2878240 h 3528490"/>
                  <a:gd name="connsiteX12" fmla="*/ 1755629 w 2849800"/>
                  <a:gd name="connsiteY12" fmla="*/ 3526330 h 3528490"/>
                  <a:gd name="connsiteX13" fmla="*/ 1467589 w 2849800"/>
                  <a:gd name="connsiteY13" fmla="*/ 2880790 h 3528490"/>
                  <a:gd name="connsiteX14" fmla="*/ 675481 w 2849800"/>
                  <a:gd name="connsiteY14" fmla="*/ 2878240 h 3528490"/>
                  <a:gd name="connsiteX15" fmla="*/ 677298 w 2849800"/>
                  <a:gd name="connsiteY15" fmla="*/ 2065560 h 3528490"/>
                  <a:gd name="connsiteX16" fmla="*/ 561 w 2849800"/>
                  <a:gd name="connsiteY16" fmla="*/ 1629332 h 3528490"/>
                  <a:gd name="connsiteX17" fmla="*/ 673936 w 2849800"/>
                  <a:gd name="connsiteY17" fmla="*/ 1412932 h 3528490"/>
                  <a:gd name="connsiteX18" fmla="*/ 675481 w 2849800"/>
                  <a:gd name="connsiteY18" fmla="*/ 717940 h 3528490"/>
                  <a:gd name="connsiteX19" fmla="*/ 677298 w 2849800"/>
                  <a:gd name="connsiteY19" fmla="*/ 705886 h 3528490"/>
                  <a:gd name="connsiteX20" fmla="*/ 675481 w 2849800"/>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629332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629332 h 3528490"/>
                  <a:gd name="connsiteX17" fmla="*/ 673375 w 2849239"/>
                  <a:gd name="connsiteY17" fmla="*/ 1196533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629332 h 3528490"/>
                  <a:gd name="connsiteX17" fmla="*/ 673375 w 2849239"/>
                  <a:gd name="connsiteY17" fmla="*/ 1196533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629332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82922 w 2857241"/>
                  <a:gd name="connsiteY0" fmla="*/ 717940 h 3528490"/>
                  <a:gd name="connsiteX1" fmla="*/ 1475035 w 2857241"/>
                  <a:gd name="connsiteY1" fmla="*/ 717940 h 3528490"/>
                  <a:gd name="connsiteX2" fmla="*/ 1763074 w 2857241"/>
                  <a:gd name="connsiteY2" fmla="*/ 0 h 3528490"/>
                  <a:gd name="connsiteX3" fmla="*/ 2065133 w 2857241"/>
                  <a:gd name="connsiteY3" fmla="*/ 726242 h 3528490"/>
                  <a:gd name="connsiteX4" fmla="*/ 2843222 w 2857241"/>
                  <a:gd name="connsiteY4" fmla="*/ 717940 h 3528490"/>
                  <a:gd name="connsiteX5" fmla="*/ 2857241 w 2857241"/>
                  <a:gd name="connsiteY5" fmla="*/ 1438040 h 3528490"/>
                  <a:gd name="connsiteX6" fmla="*/ 2857241 w 2857241"/>
                  <a:gd name="connsiteY6" fmla="*/ 1510050 h 3528490"/>
                  <a:gd name="connsiteX7" fmla="*/ 2195130 w 2857241"/>
                  <a:gd name="connsiteY7" fmla="*/ 1798090 h 3528490"/>
                  <a:gd name="connsiteX8" fmla="*/ 2857241 w 2857241"/>
                  <a:gd name="connsiteY8" fmla="*/ 2086130 h 3528490"/>
                  <a:gd name="connsiteX9" fmla="*/ 2845147 w 2857241"/>
                  <a:gd name="connsiteY9" fmla="*/ 2878240 h 3528490"/>
                  <a:gd name="connsiteX10" fmla="*/ 2843222 w 2857241"/>
                  <a:gd name="connsiteY10" fmla="*/ 2878240 h 3528490"/>
                  <a:gd name="connsiteX11" fmla="*/ 2051110 w 2857241"/>
                  <a:gd name="connsiteY11" fmla="*/ 2878240 h 3528490"/>
                  <a:gd name="connsiteX12" fmla="*/ 1763070 w 2857241"/>
                  <a:gd name="connsiteY12" fmla="*/ 3526330 h 3528490"/>
                  <a:gd name="connsiteX13" fmla="*/ 1475030 w 2857241"/>
                  <a:gd name="connsiteY13" fmla="*/ 2880790 h 3528490"/>
                  <a:gd name="connsiteX14" fmla="*/ 682922 w 2857241"/>
                  <a:gd name="connsiteY14" fmla="*/ 2878240 h 3528490"/>
                  <a:gd name="connsiteX15" fmla="*/ 681377 w 2857241"/>
                  <a:gd name="connsiteY15" fmla="*/ 2278531 h 3528490"/>
                  <a:gd name="connsiteX16" fmla="*/ 8002 w 2857241"/>
                  <a:gd name="connsiteY16" fmla="*/ 1845731 h 3528490"/>
                  <a:gd name="connsiteX17" fmla="*/ 681377 w 2857241"/>
                  <a:gd name="connsiteY17" fmla="*/ 1412932 h 3528490"/>
                  <a:gd name="connsiteX18" fmla="*/ 682922 w 2857241"/>
                  <a:gd name="connsiteY18" fmla="*/ 717940 h 3528490"/>
                  <a:gd name="connsiteX19" fmla="*/ 684739 w 2857241"/>
                  <a:gd name="connsiteY19" fmla="*/ 705886 h 3528490"/>
                  <a:gd name="connsiteX20" fmla="*/ 682922 w 285724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6293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0621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49239" h="3528490">
                    <a:moveTo>
                      <a:pt x="674920" y="717940"/>
                    </a:moveTo>
                    <a:lnTo>
                      <a:pt x="1467033" y="717940"/>
                    </a:lnTo>
                    <a:cubicBezTo>
                      <a:pt x="1568283" y="632383"/>
                      <a:pt x="1096567" y="35191"/>
                      <a:pt x="1755072" y="0"/>
                    </a:cubicBezTo>
                    <a:cubicBezTo>
                      <a:pt x="2343806" y="80045"/>
                      <a:pt x="1951844" y="516202"/>
                      <a:pt x="2057131" y="726242"/>
                    </a:cubicBezTo>
                    <a:lnTo>
                      <a:pt x="2835220" y="717940"/>
                    </a:lnTo>
                    <a:lnTo>
                      <a:pt x="2849239" y="1438040"/>
                    </a:lnTo>
                    <a:lnTo>
                      <a:pt x="2849239" y="1510050"/>
                    </a:lnTo>
                    <a:cubicBezTo>
                      <a:pt x="2742033" y="1702066"/>
                      <a:pt x="2230471" y="1141974"/>
                      <a:pt x="2187128" y="1798090"/>
                    </a:cubicBezTo>
                    <a:cubicBezTo>
                      <a:pt x="2244452" y="2422296"/>
                      <a:pt x="2690234" y="2001165"/>
                      <a:pt x="2849239" y="2086130"/>
                    </a:cubicBezTo>
                    <a:cubicBezTo>
                      <a:pt x="2848987" y="2381300"/>
                      <a:pt x="2841176" y="2590200"/>
                      <a:pt x="2837145" y="2878240"/>
                    </a:cubicBezTo>
                    <a:cubicBezTo>
                      <a:pt x="2837144" y="2870497"/>
                      <a:pt x="2849239" y="2052696"/>
                      <a:pt x="2835220" y="2878240"/>
                    </a:cubicBezTo>
                    <a:lnTo>
                      <a:pt x="2043108" y="2878240"/>
                    </a:lnTo>
                    <a:cubicBezTo>
                      <a:pt x="1942661" y="2878240"/>
                      <a:pt x="2371865" y="3528490"/>
                      <a:pt x="1755068" y="3526330"/>
                    </a:cubicBezTo>
                    <a:cubicBezTo>
                      <a:pt x="1133428" y="3526330"/>
                      <a:pt x="1558608" y="2880790"/>
                      <a:pt x="1467028" y="2880790"/>
                    </a:cubicBezTo>
                    <a:lnTo>
                      <a:pt x="674920" y="2878240"/>
                    </a:lnTo>
                    <a:cubicBezTo>
                      <a:pt x="675526" y="2607347"/>
                      <a:pt x="672769" y="2333024"/>
                      <a:pt x="673375" y="2062131"/>
                    </a:cubicBezTo>
                    <a:cubicBezTo>
                      <a:pt x="671822" y="1869435"/>
                      <a:pt x="31662" y="2551233"/>
                      <a:pt x="0" y="1845731"/>
                    </a:cubicBezTo>
                    <a:cubicBezTo>
                      <a:pt x="9394" y="937988"/>
                      <a:pt x="558276" y="1730268"/>
                      <a:pt x="673375" y="1412932"/>
                    </a:cubicBezTo>
                    <a:cubicBezTo>
                      <a:pt x="673072" y="1188329"/>
                      <a:pt x="673992" y="836017"/>
                      <a:pt x="674920" y="717940"/>
                    </a:cubicBezTo>
                    <a:cubicBezTo>
                      <a:pt x="674920" y="491328"/>
                      <a:pt x="676359" y="708397"/>
                      <a:pt x="676737" y="705886"/>
                    </a:cubicBezTo>
                    <a:lnTo>
                      <a:pt x="67492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91" name="Textfeld 90"/>
              <p:cNvSpPr txBox="1"/>
              <p:nvPr/>
            </p:nvSpPr>
            <p:spPr>
              <a:xfrm>
                <a:off x="2603757" y="2357768"/>
                <a:ext cx="961275" cy="650957"/>
              </a:xfrm>
              <a:prstGeom prst="rect">
                <a:avLst/>
              </a:prstGeom>
              <a:noFill/>
            </p:spPr>
            <p:txBody>
              <a:bodyPr wrap="square" lIns="0" tIns="0" rIns="0" bIns="0" rtlCol="0">
                <a:spAutoFit/>
              </a:bodyPr>
              <a:lstStyle/>
              <a:p>
                <a:pPr algn="ctr"/>
                <a:r>
                  <a:rPr lang="en-US" sz="900" dirty="0" smtClean="0">
                    <a:solidFill>
                      <a:schemeClr val="bg1"/>
                    </a:solidFill>
                    <a:latin typeface="Arial" pitchFamily="34" charset="0"/>
                    <a:cs typeface="Arial" pitchFamily="34" charset="0"/>
                  </a:rPr>
                  <a:t>Planned/Actual comparison</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adherence to budget</a:t>
                </a:r>
                <a:r>
                  <a:rPr lang="en-US" sz="900" baseline="30000" dirty="0" smtClean="0">
                    <a:solidFill>
                      <a:schemeClr val="bg1"/>
                    </a:solidFill>
                    <a:latin typeface="Arial" pitchFamily="34" charset="0"/>
                    <a:cs typeface="Arial" pitchFamily="34" charset="0"/>
                  </a:rPr>
                  <a:t>(c)</a:t>
                </a:r>
              </a:p>
              <a:p>
                <a:pPr algn="ctr"/>
                <a:endParaRPr lang="en-US" sz="900" dirty="0">
                  <a:solidFill>
                    <a:schemeClr val="bg1"/>
                  </a:solidFill>
                  <a:latin typeface="Arial" pitchFamily="34" charset="0"/>
                  <a:cs typeface="Arial" pitchFamily="34" charset="0"/>
                </a:endParaRPr>
              </a:p>
            </p:txBody>
          </p:sp>
          <p:sp>
            <p:nvSpPr>
              <p:cNvPr id="92" name="Textfeld 91"/>
              <p:cNvSpPr txBox="1"/>
              <p:nvPr/>
            </p:nvSpPr>
            <p:spPr>
              <a:xfrm>
                <a:off x="2620163" y="4454953"/>
                <a:ext cx="963073" cy="260383"/>
              </a:xfrm>
              <a:prstGeom prst="rect">
                <a:avLst/>
              </a:prstGeom>
              <a:noFill/>
            </p:spPr>
            <p:txBody>
              <a:bodyPr wrap="square" lIns="0" tIns="0" rIns="0" bIns="0" rtlCol="0">
                <a:spAutoFit/>
              </a:bodyPr>
              <a:lstStyle/>
              <a:p>
                <a:pPr algn="ctr"/>
                <a:r>
                  <a:rPr lang="en-US" sz="900" dirty="0" smtClean="0">
                    <a:solidFill>
                      <a:schemeClr val="bg1"/>
                    </a:solidFill>
                    <a:latin typeface="Arial" pitchFamily="34" charset="0"/>
                    <a:cs typeface="Arial" pitchFamily="34" charset="0"/>
                  </a:rPr>
                  <a:t>Current</a:t>
                </a:r>
              </a:p>
              <a:p>
                <a:pPr algn="ctr"/>
                <a:r>
                  <a:rPr lang="en-US" sz="900" dirty="0" smtClean="0">
                    <a:solidFill>
                      <a:schemeClr val="bg1"/>
                    </a:solidFill>
                    <a:latin typeface="Arial" pitchFamily="34" charset="0"/>
                    <a:cs typeface="Arial" pitchFamily="34" charset="0"/>
                  </a:rPr>
                  <a:t>trading</a:t>
                </a:r>
              </a:p>
            </p:txBody>
          </p:sp>
          <p:sp>
            <p:nvSpPr>
              <p:cNvPr id="93" name="Textfeld 92"/>
              <p:cNvSpPr txBox="1"/>
              <p:nvPr/>
            </p:nvSpPr>
            <p:spPr>
              <a:xfrm>
                <a:off x="2737965" y="3556232"/>
                <a:ext cx="963073" cy="130191"/>
              </a:xfrm>
              <a:prstGeom prst="rect">
                <a:avLst/>
              </a:prstGeom>
              <a:noFill/>
            </p:spPr>
            <p:txBody>
              <a:bodyPr wrap="square" lIns="0" tIns="0" rIns="0" bIns="0" rtlCol="0">
                <a:spAutoFit/>
              </a:bodyPr>
              <a:lstStyle/>
              <a:p>
                <a:pPr algn="ctr"/>
                <a:r>
                  <a:rPr lang="en-US" sz="900" dirty="0" smtClean="0">
                    <a:solidFill>
                      <a:schemeClr val="bg1"/>
                    </a:solidFill>
                    <a:latin typeface="Arial" pitchFamily="34" charset="0"/>
                    <a:cs typeface="Arial" pitchFamily="34" charset="0"/>
                  </a:rPr>
                  <a:t>LTM</a:t>
                </a:r>
              </a:p>
            </p:txBody>
          </p:sp>
          <p:sp>
            <p:nvSpPr>
              <p:cNvPr id="111" name="Freihandform 110"/>
              <p:cNvSpPr/>
              <p:nvPr/>
            </p:nvSpPr>
            <p:spPr>
              <a:xfrm>
                <a:off x="1031784" y="4080986"/>
                <a:ext cx="1130838" cy="875057"/>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28740 h 2810550"/>
                  <a:gd name="connsiteX13" fmla="*/ 40 w 2174359"/>
                  <a:gd name="connsiteY13"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08140 h 2810550"/>
                  <a:gd name="connsiteX13" fmla="*/ 40 w 2174359"/>
                  <a:gd name="connsiteY13" fmla="*/ 0 h 2810550"/>
                  <a:gd name="connsiteX0" fmla="*/ 40 w 2174359"/>
                  <a:gd name="connsiteY0" fmla="*/ 0 h 2176480"/>
                  <a:gd name="connsiteX1" fmla="*/ 2160340 w 2174359"/>
                  <a:gd name="connsiteY1" fmla="*/ 0 h 2176480"/>
                  <a:gd name="connsiteX2" fmla="*/ 2174359 w 2174359"/>
                  <a:gd name="connsiteY2" fmla="*/ 720100 h 2176480"/>
                  <a:gd name="connsiteX3" fmla="*/ 2174359 w 2174359"/>
                  <a:gd name="connsiteY3" fmla="*/ 792110 h 2176480"/>
                  <a:gd name="connsiteX4" fmla="*/ 1512248 w 2174359"/>
                  <a:gd name="connsiteY4" fmla="*/ 1080150 h 2176480"/>
                  <a:gd name="connsiteX5" fmla="*/ 2174359 w 2174359"/>
                  <a:gd name="connsiteY5" fmla="*/ 1368190 h 2176480"/>
                  <a:gd name="connsiteX6" fmla="*/ 2162265 w 2174359"/>
                  <a:gd name="connsiteY6" fmla="*/ 2160300 h 2176480"/>
                  <a:gd name="connsiteX7" fmla="*/ 2160340 w 2174359"/>
                  <a:gd name="connsiteY7" fmla="*/ 2160300 h 2176480"/>
                  <a:gd name="connsiteX8" fmla="*/ 1368228 w 2174359"/>
                  <a:gd name="connsiteY8" fmla="*/ 2160300 h 2176480"/>
                  <a:gd name="connsiteX9" fmla="*/ 1022159 w 2174359"/>
                  <a:gd name="connsiteY9" fmla="*/ 2174320 h 2176480"/>
                  <a:gd name="connsiteX10" fmla="*/ 792148 w 2174359"/>
                  <a:gd name="connsiteY10" fmla="*/ 2162850 h 2176480"/>
                  <a:gd name="connsiteX11" fmla="*/ 40 w 2174359"/>
                  <a:gd name="connsiteY11" fmla="*/ 2160300 h 2176480"/>
                  <a:gd name="connsiteX12" fmla="*/ 0 w 2174359"/>
                  <a:gd name="connsiteY12" fmla="*/ 1008140 h 2176480"/>
                  <a:gd name="connsiteX13" fmla="*/ 40 w 2174359"/>
                  <a:gd name="connsiteY13" fmla="*/ 0 h 2176480"/>
                  <a:gd name="connsiteX0" fmla="*/ 40 w 2174359"/>
                  <a:gd name="connsiteY0" fmla="*/ 0 h 2162850"/>
                  <a:gd name="connsiteX1" fmla="*/ 2160340 w 2174359"/>
                  <a:gd name="connsiteY1" fmla="*/ 0 h 2162850"/>
                  <a:gd name="connsiteX2" fmla="*/ 2174359 w 2174359"/>
                  <a:gd name="connsiteY2" fmla="*/ 720100 h 2162850"/>
                  <a:gd name="connsiteX3" fmla="*/ 2174359 w 2174359"/>
                  <a:gd name="connsiteY3" fmla="*/ 792110 h 2162850"/>
                  <a:gd name="connsiteX4" fmla="*/ 1512248 w 2174359"/>
                  <a:gd name="connsiteY4" fmla="*/ 1080150 h 2162850"/>
                  <a:gd name="connsiteX5" fmla="*/ 2174359 w 2174359"/>
                  <a:gd name="connsiteY5" fmla="*/ 1368190 h 2162850"/>
                  <a:gd name="connsiteX6" fmla="*/ 2162265 w 2174359"/>
                  <a:gd name="connsiteY6" fmla="*/ 2160300 h 2162850"/>
                  <a:gd name="connsiteX7" fmla="*/ 2160340 w 2174359"/>
                  <a:gd name="connsiteY7" fmla="*/ 2160300 h 2162850"/>
                  <a:gd name="connsiteX8" fmla="*/ 1368228 w 2174359"/>
                  <a:gd name="connsiteY8" fmla="*/ 2160300 h 2162850"/>
                  <a:gd name="connsiteX9" fmla="*/ 792148 w 2174359"/>
                  <a:gd name="connsiteY9" fmla="*/ 2162850 h 2162850"/>
                  <a:gd name="connsiteX10" fmla="*/ 40 w 2174359"/>
                  <a:gd name="connsiteY10" fmla="*/ 2160300 h 2162850"/>
                  <a:gd name="connsiteX11" fmla="*/ 0 w 2174359"/>
                  <a:gd name="connsiteY11" fmla="*/ 1008140 h 2162850"/>
                  <a:gd name="connsiteX12" fmla="*/ 40 w 2174359"/>
                  <a:gd name="connsiteY12" fmla="*/ 0 h 216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74359" h="2162850">
                    <a:moveTo>
                      <a:pt x="40" y="0"/>
                    </a:moveTo>
                    <a:lnTo>
                      <a:pt x="2160340" y="0"/>
                    </a:lnTo>
                    <a:lnTo>
                      <a:pt x="2174359" y="720100"/>
                    </a:lnTo>
                    <a:lnTo>
                      <a:pt x="2174359" y="792110"/>
                    </a:lnTo>
                    <a:cubicBezTo>
                      <a:pt x="2127373" y="905666"/>
                      <a:pt x="1555591" y="424034"/>
                      <a:pt x="1512248" y="1080150"/>
                    </a:cubicBezTo>
                    <a:cubicBezTo>
                      <a:pt x="1569572" y="1704356"/>
                      <a:pt x="2060334" y="1244385"/>
                      <a:pt x="2174359" y="1368190"/>
                    </a:cubicBezTo>
                    <a:cubicBezTo>
                      <a:pt x="2174107" y="1663360"/>
                      <a:pt x="2166296" y="1872260"/>
                      <a:pt x="2162265" y="2160300"/>
                    </a:cubicBezTo>
                    <a:cubicBezTo>
                      <a:pt x="2162264" y="2152557"/>
                      <a:pt x="2174359" y="1334756"/>
                      <a:pt x="2160340" y="2160300"/>
                    </a:cubicBezTo>
                    <a:lnTo>
                      <a:pt x="1368228" y="2160300"/>
                    </a:lnTo>
                    <a:lnTo>
                      <a:pt x="792148" y="2162850"/>
                    </a:lnTo>
                    <a:lnTo>
                      <a:pt x="40" y="2160300"/>
                    </a:lnTo>
                    <a:cubicBezTo>
                      <a:pt x="27" y="1783113"/>
                      <a:pt x="13" y="1385327"/>
                      <a:pt x="0" y="1008140"/>
                    </a:cubicBezTo>
                    <a:cubicBezTo>
                      <a:pt x="13" y="665227"/>
                      <a:pt x="27" y="342913"/>
                      <a:pt x="40" y="0"/>
                    </a:cubicBezTo>
                    <a:close/>
                  </a:path>
                </a:pathLst>
              </a:cu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2" name="Textfeld 17"/>
              <p:cNvSpPr txBox="1"/>
              <p:nvPr/>
            </p:nvSpPr>
            <p:spPr>
              <a:xfrm>
                <a:off x="3852546" y="4162255"/>
                <a:ext cx="1404047" cy="477368"/>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a:t>
                </a:r>
              </a:p>
              <a:p>
                <a:pPr algn="ctr"/>
                <a:r>
                  <a:rPr lang="en-US" sz="900" dirty="0" smtClean="0">
                    <a:solidFill>
                      <a:schemeClr val="bg1"/>
                    </a:solidFill>
                    <a:latin typeface="Arial" pitchFamily="34" charset="0"/>
                    <a:cs typeface="Arial" pitchFamily="34" charset="0"/>
                  </a:rPr>
                  <a:t>with </a:t>
                </a:r>
              </a:p>
              <a:p>
                <a:pPr algn="ctr"/>
                <a:r>
                  <a:rPr lang="en-US" sz="900" dirty="0" smtClean="0">
                    <a:solidFill>
                      <a:schemeClr val="bg1"/>
                    </a:solidFill>
                    <a:latin typeface="Arial" pitchFamily="34" charset="0"/>
                    <a:cs typeface="Arial" pitchFamily="34" charset="0"/>
                  </a:rPr>
                  <a:t>peers</a:t>
                </a:r>
                <a:endParaRPr lang="en-US" sz="900" dirty="0">
                  <a:solidFill>
                    <a:schemeClr val="bg1"/>
                  </a:solidFill>
                  <a:latin typeface="Arial" pitchFamily="34" charset="0"/>
                  <a:cs typeface="Arial" pitchFamily="34" charset="0"/>
                </a:endParaRPr>
              </a:p>
            </p:txBody>
          </p:sp>
        </p:grpSp>
        <p:sp>
          <p:nvSpPr>
            <p:cNvPr id="126" name="Rechteck 75"/>
            <p:cNvSpPr/>
            <p:nvPr/>
          </p:nvSpPr>
          <p:spPr>
            <a:xfrm>
              <a:off x="992960" y="4940709"/>
              <a:ext cx="7200000" cy="581176"/>
            </a:xfrm>
            <a:custGeom>
              <a:avLst/>
              <a:gdLst>
                <a:gd name="connsiteX0" fmla="*/ 0 w 6769099"/>
                <a:gd name="connsiteY0" fmla="*/ 0 h 360000"/>
                <a:gd name="connsiteX1" fmla="*/ 6769099 w 6769099"/>
                <a:gd name="connsiteY1" fmla="*/ 0 h 360000"/>
                <a:gd name="connsiteX2" fmla="*/ 6769099 w 6769099"/>
                <a:gd name="connsiteY2" fmla="*/ 360000 h 360000"/>
                <a:gd name="connsiteX3" fmla="*/ 0 w 6769099"/>
                <a:gd name="connsiteY3" fmla="*/ 360000 h 360000"/>
                <a:gd name="connsiteX4" fmla="*/ 0 w 6769099"/>
                <a:gd name="connsiteY4" fmla="*/ 0 h 360000"/>
                <a:gd name="connsiteX0" fmla="*/ 794 w 6769893"/>
                <a:gd name="connsiteY0" fmla="*/ 0 h 360000"/>
                <a:gd name="connsiteX1" fmla="*/ 6769893 w 6769893"/>
                <a:gd name="connsiteY1" fmla="*/ 0 h 360000"/>
                <a:gd name="connsiteX2" fmla="*/ 6769893 w 6769893"/>
                <a:gd name="connsiteY2" fmla="*/ 360000 h 360000"/>
                <a:gd name="connsiteX3" fmla="*/ 794 w 6769893"/>
                <a:gd name="connsiteY3" fmla="*/ 360000 h 360000"/>
                <a:gd name="connsiteX4" fmla="*/ 0 w 6769893"/>
                <a:gd name="connsiteY4" fmla="*/ 257359 h 360000"/>
                <a:gd name="connsiteX5" fmla="*/ 794 w 6769893"/>
                <a:gd name="connsiteY5" fmla="*/ 0 h 360000"/>
                <a:gd name="connsiteX0" fmla="*/ 1127919 w 7897018"/>
                <a:gd name="connsiteY0" fmla="*/ 0 h 360000"/>
                <a:gd name="connsiteX1" fmla="*/ 7897018 w 7897018"/>
                <a:gd name="connsiteY1" fmla="*/ 0 h 360000"/>
                <a:gd name="connsiteX2" fmla="*/ 7897018 w 7897018"/>
                <a:gd name="connsiteY2" fmla="*/ 360000 h 360000"/>
                <a:gd name="connsiteX3" fmla="*/ 1127919 w 7897018"/>
                <a:gd name="connsiteY3" fmla="*/ 360000 h 360000"/>
                <a:gd name="connsiteX4" fmla="*/ 1127125 w 7897018"/>
                <a:gd name="connsiteY4" fmla="*/ 257359 h 360000"/>
                <a:gd name="connsiteX5" fmla="*/ 1129506 w 7897018"/>
                <a:gd name="connsiteY5" fmla="*/ 97815 h 360000"/>
                <a:gd name="connsiteX6" fmla="*/ 1127919 w 7897018"/>
                <a:gd name="connsiteY6" fmla="*/ 0 h 360000"/>
                <a:gd name="connsiteX0" fmla="*/ 794 w 6769893"/>
                <a:gd name="connsiteY0" fmla="*/ 0 h 360000"/>
                <a:gd name="connsiteX1" fmla="*/ 6769893 w 6769893"/>
                <a:gd name="connsiteY1" fmla="*/ 0 h 360000"/>
                <a:gd name="connsiteX2" fmla="*/ 6769893 w 6769893"/>
                <a:gd name="connsiteY2" fmla="*/ 360000 h 360000"/>
                <a:gd name="connsiteX3" fmla="*/ 794 w 6769893"/>
                <a:gd name="connsiteY3" fmla="*/ 360000 h 360000"/>
                <a:gd name="connsiteX4" fmla="*/ 0 w 6769893"/>
                <a:gd name="connsiteY4" fmla="*/ 257359 h 360000"/>
                <a:gd name="connsiteX5" fmla="*/ 2381 w 6769893"/>
                <a:gd name="connsiteY5" fmla="*/ 97815 h 360000"/>
                <a:gd name="connsiteX6" fmla="*/ 794 w 6769893"/>
                <a:gd name="connsiteY6" fmla="*/ 0 h 360000"/>
                <a:gd name="connsiteX0" fmla="*/ 1191 w 6770290"/>
                <a:gd name="connsiteY0" fmla="*/ 0 h 360000"/>
                <a:gd name="connsiteX1" fmla="*/ 6770290 w 6770290"/>
                <a:gd name="connsiteY1" fmla="*/ 0 h 360000"/>
                <a:gd name="connsiteX2" fmla="*/ 6770290 w 6770290"/>
                <a:gd name="connsiteY2" fmla="*/ 360000 h 360000"/>
                <a:gd name="connsiteX3" fmla="*/ 1191 w 6770290"/>
                <a:gd name="connsiteY3" fmla="*/ 360000 h 360000"/>
                <a:gd name="connsiteX4" fmla="*/ 397 w 6770290"/>
                <a:gd name="connsiteY4" fmla="*/ 257359 h 360000"/>
                <a:gd name="connsiteX5" fmla="*/ 397 w 6770290"/>
                <a:gd name="connsiteY5" fmla="*/ 176396 h 360000"/>
                <a:gd name="connsiteX6" fmla="*/ 2778 w 6770290"/>
                <a:gd name="connsiteY6" fmla="*/ 97815 h 360000"/>
                <a:gd name="connsiteX7" fmla="*/ 1191 w 6770290"/>
                <a:gd name="connsiteY7" fmla="*/ 0 h 360000"/>
                <a:gd name="connsiteX0" fmla="*/ 360710 w 7129809"/>
                <a:gd name="connsiteY0" fmla="*/ 0 h 360000"/>
                <a:gd name="connsiteX1" fmla="*/ 7129809 w 7129809"/>
                <a:gd name="connsiteY1" fmla="*/ 0 h 360000"/>
                <a:gd name="connsiteX2" fmla="*/ 7129809 w 7129809"/>
                <a:gd name="connsiteY2" fmla="*/ 360000 h 360000"/>
                <a:gd name="connsiteX3" fmla="*/ 360710 w 7129809"/>
                <a:gd name="connsiteY3" fmla="*/ 360000 h 360000"/>
                <a:gd name="connsiteX4" fmla="*/ 359916 w 7129809"/>
                <a:gd name="connsiteY4" fmla="*/ 257359 h 360000"/>
                <a:gd name="connsiteX5" fmla="*/ 397 w 7129809"/>
                <a:gd name="connsiteY5" fmla="*/ 143976 h 360000"/>
                <a:gd name="connsiteX6" fmla="*/ 362297 w 7129809"/>
                <a:gd name="connsiteY6" fmla="*/ 97815 h 360000"/>
                <a:gd name="connsiteX7" fmla="*/ 360710 w 7129809"/>
                <a:gd name="connsiteY7" fmla="*/ 0 h 360000"/>
                <a:gd name="connsiteX0" fmla="*/ 375047 w 7144146"/>
                <a:gd name="connsiteY0" fmla="*/ 0 h 474450"/>
                <a:gd name="connsiteX1" fmla="*/ 7144146 w 7144146"/>
                <a:gd name="connsiteY1" fmla="*/ 0 h 474450"/>
                <a:gd name="connsiteX2" fmla="*/ 7144146 w 7144146"/>
                <a:gd name="connsiteY2" fmla="*/ 360000 h 474450"/>
                <a:gd name="connsiteX3" fmla="*/ 375047 w 7144146"/>
                <a:gd name="connsiteY3" fmla="*/ 360000 h 474450"/>
                <a:gd name="connsiteX4" fmla="*/ 374253 w 7144146"/>
                <a:gd name="connsiteY4" fmla="*/ 257359 h 474450"/>
                <a:gd name="connsiteX5" fmla="*/ 14734 w 7144146"/>
                <a:gd name="connsiteY5" fmla="*/ 143976 h 474450"/>
                <a:gd name="connsiteX6" fmla="*/ 376634 w 7144146"/>
                <a:gd name="connsiteY6" fmla="*/ 97815 h 474450"/>
                <a:gd name="connsiteX7" fmla="*/ 375047 w 7144146"/>
                <a:gd name="connsiteY7" fmla="*/ 0 h 474450"/>
                <a:gd name="connsiteX0" fmla="*/ 376635 w 7145734"/>
                <a:gd name="connsiteY0" fmla="*/ 152614 h 627064"/>
                <a:gd name="connsiteX1" fmla="*/ 7145734 w 7145734"/>
                <a:gd name="connsiteY1" fmla="*/ 152614 h 627064"/>
                <a:gd name="connsiteX2" fmla="*/ 7145734 w 7145734"/>
                <a:gd name="connsiteY2" fmla="*/ 512614 h 627064"/>
                <a:gd name="connsiteX3" fmla="*/ 376635 w 7145734"/>
                <a:gd name="connsiteY3" fmla="*/ 512614 h 627064"/>
                <a:gd name="connsiteX4" fmla="*/ 375841 w 7145734"/>
                <a:gd name="connsiteY4" fmla="*/ 409973 h 627064"/>
                <a:gd name="connsiteX5" fmla="*/ 16322 w 7145734"/>
                <a:gd name="connsiteY5" fmla="*/ 296590 h 627064"/>
                <a:gd name="connsiteX6" fmla="*/ 378222 w 7145734"/>
                <a:gd name="connsiteY6" fmla="*/ 250429 h 627064"/>
                <a:gd name="connsiteX7" fmla="*/ 376635 w 7145734"/>
                <a:gd name="connsiteY7" fmla="*/ 152614 h 627064"/>
                <a:gd name="connsiteX0" fmla="*/ 401291 w 7170390"/>
                <a:gd name="connsiteY0" fmla="*/ 152614 h 597100"/>
                <a:gd name="connsiteX1" fmla="*/ 7170390 w 7170390"/>
                <a:gd name="connsiteY1" fmla="*/ 152614 h 597100"/>
                <a:gd name="connsiteX2" fmla="*/ 7170390 w 7170390"/>
                <a:gd name="connsiteY2" fmla="*/ 512614 h 597100"/>
                <a:gd name="connsiteX3" fmla="*/ 401291 w 7170390"/>
                <a:gd name="connsiteY3" fmla="*/ 512614 h 597100"/>
                <a:gd name="connsiteX4" fmla="*/ 400497 w 7170390"/>
                <a:gd name="connsiteY4" fmla="*/ 409973 h 597100"/>
                <a:gd name="connsiteX5" fmla="*/ 40978 w 7170390"/>
                <a:gd name="connsiteY5" fmla="*/ 296590 h 597100"/>
                <a:gd name="connsiteX6" fmla="*/ 402878 w 7170390"/>
                <a:gd name="connsiteY6" fmla="*/ 250429 h 597100"/>
                <a:gd name="connsiteX7" fmla="*/ 401291 w 7170390"/>
                <a:gd name="connsiteY7" fmla="*/ 152614 h 597100"/>
                <a:gd name="connsiteX0" fmla="*/ 401291 w 7170390"/>
                <a:gd name="connsiteY0" fmla="*/ 156012 h 600498"/>
                <a:gd name="connsiteX1" fmla="*/ 7170390 w 7170390"/>
                <a:gd name="connsiteY1" fmla="*/ 156012 h 600498"/>
                <a:gd name="connsiteX2" fmla="*/ 7170390 w 7170390"/>
                <a:gd name="connsiteY2" fmla="*/ 516012 h 600498"/>
                <a:gd name="connsiteX3" fmla="*/ 401291 w 7170390"/>
                <a:gd name="connsiteY3" fmla="*/ 516012 h 600498"/>
                <a:gd name="connsiteX4" fmla="*/ 400497 w 7170390"/>
                <a:gd name="connsiteY4" fmla="*/ 413371 h 600498"/>
                <a:gd name="connsiteX5" fmla="*/ 40978 w 7170390"/>
                <a:gd name="connsiteY5" fmla="*/ 299988 h 600498"/>
                <a:gd name="connsiteX6" fmla="*/ 402878 w 7170390"/>
                <a:gd name="connsiteY6" fmla="*/ 253827 h 600498"/>
                <a:gd name="connsiteX7" fmla="*/ 401291 w 7170390"/>
                <a:gd name="connsiteY7" fmla="*/ 156012 h 600498"/>
                <a:gd name="connsiteX0" fmla="*/ 360313 w 7129412"/>
                <a:gd name="connsiteY0" fmla="*/ 156012 h 644924"/>
                <a:gd name="connsiteX1" fmla="*/ 7129412 w 7129412"/>
                <a:gd name="connsiteY1" fmla="*/ 156012 h 644924"/>
                <a:gd name="connsiteX2" fmla="*/ 7129412 w 7129412"/>
                <a:gd name="connsiteY2" fmla="*/ 516012 h 644924"/>
                <a:gd name="connsiteX3" fmla="*/ 360313 w 7129412"/>
                <a:gd name="connsiteY3" fmla="*/ 516012 h 644924"/>
                <a:gd name="connsiteX4" fmla="*/ 359519 w 7129412"/>
                <a:gd name="connsiteY4" fmla="*/ 413371 h 644924"/>
                <a:gd name="connsiteX5" fmla="*/ 0 w 7129412"/>
                <a:gd name="connsiteY5" fmla="*/ 299988 h 644924"/>
                <a:gd name="connsiteX6" fmla="*/ 361900 w 7129412"/>
                <a:gd name="connsiteY6" fmla="*/ 253827 h 644924"/>
                <a:gd name="connsiteX7" fmla="*/ 360313 w 7129412"/>
                <a:gd name="connsiteY7" fmla="*/ 156012 h 644924"/>
                <a:gd name="connsiteX0" fmla="*/ 360313 w 7129412"/>
                <a:gd name="connsiteY0" fmla="*/ 156012 h 636392"/>
                <a:gd name="connsiteX1" fmla="*/ 7129412 w 7129412"/>
                <a:gd name="connsiteY1" fmla="*/ 156012 h 636392"/>
                <a:gd name="connsiteX2" fmla="*/ 7129412 w 7129412"/>
                <a:gd name="connsiteY2" fmla="*/ 516012 h 636392"/>
                <a:gd name="connsiteX3" fmla="*/ 360313 w 7129412"/>
                <a:gd name="connsiteY3" fmla="*/ 516012 h 636392"/>
                <a:gd name="connsiteX4" fmla="*/ 359519 w 7129412"/>
                <a:gd name="connsiteY4" fmla="*/ 413371 h 636392"/>
                <a:gd name="connsiteX5" fmla="*/ 0 w 7129412"/>
                <a:gd name="connsiteY5" fmla="*/ 299988 h 636392"/>
                <a:gd name="connsiteX6" fmla="*/ 361900 w 7129412"/>
                <a:gd name="connsiteY6" fmla="*/ 253827 h 636392"/>
                <a:gd name="connsiteX7" fmla="*/ 360313 w 7129412"/>
                <a:gd name="connsiteY7" fmla="*/ 156012 h 636392"/>
                <a:gd name="connsiteX0" fmla="*/ 360313 w 7131490"/>
                <a:gd name="connsiteY0" fmla="*/ 156012 h 636392"/>
                <a:gd name="connsiteX1" fmla="*/ 7129412 w 7131490"/>
                <a:gd name="connsiteY1" fmla="*/ 156012 h 636392"/>
                <a:gd name="connsiteX2" fmla="*/ 7131490 w 7131490"/>
                <a:gd name="connsiteY2" fmla="*/ 319086 h 636392"/>
                <a:gd name="connsiteX3" fmla="*/ 7129412 w 7131490"/>
                <a:gd name="connsiteY3" fmla="*/ 516012 h 636392"/>
                <a:gd name="connsiteX4" fmla="*/ 360313 w 7131490"/>
                <a:gd name="connsiteY4" fmla="*/ 516012 h 636392"/>
                <a:gd name="connsiteX5" fmla="*/ 359519 w 7131490"/>
                <a:gd name="connsiteY5" fmla="*/ 413371 h 636392"/>
                <a:gd name="connsiteX6" fmla="*/ 0 w 7131490"/>
                <a:gd name="connsiteY6" fmla="*/ 299988 h 636392"/>
                <a:gd name="connsiteX7" fmla="*/ 361900 w 7131490"/>
                <a:gd name="connsiteY7" fmla="*/ 253827 h 636392"/>
                <a:gd name="connsiteX8" fmla="*/ 360313 w 7131490"/>
                <a:gd name="connsiteY8" fmla="*/ 156012 h 636392"/>
                <a:gd name="connsiteX0" fmla="*/ 360313 w 8257941"/>
                <a:gd name="connsiteY0" fmla="*/ 156012 h 636392"/>
                <a:gd name="connsiteX1" fmla="*/ 7129412 w 8257941"/>
                <a:gd name="connsiteY1" fmla="*/ 156012 h 636392"/>
                <a:gd name="connsiteX2" fmla="*/ 7131490 w 8257941"/>
                <a:gd name="connsiteY2" fmla="*/ 219074 h 636392"/>
                <a:gd name="connsiteX3" fmla="*/ 7131490 w 8257941"/>
                <a:gd name="connsiteY3" fmla="*/ 319086 h 636392"/>
                <a:gd name="connsiteX4" fmla="*/ 7129412 w 8257941"/>
                <a:gd name="connsiteY4" fmla="*/ 516012 h 636392"/>
                <a:gd name="connsiteX5" fmla="*/ 360313 w 8257941"/>
                <a:gd name="connsiteY5" fmla="*/ 516012 h 636392"/>
                <a:gd name="connsiteX6" fmla="*/ 359519 w 8257941"/>
                <a:gd name="connsiteY6" fmla="*/ 413371 h 636392"/>
                <a:gd name="connsiteX7" fmla="*/ 0 w 8257941"/>
                <a:gd name="connsiteY7" fmla="*/ 299988 h 636392"/>
                <a:gd name="connsiteX8" fmla="*/ 361900 w 8257941"/>
                <a:gd name="connsiteY8" fmla="*/ 253827 h 636392"/>
                <a:gd name="connsiteX9" fmla="*/ 360313 w 8257941"/>
                <a:gd name="connsiteY9"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9412 w 7131836"/>
                <a:gd name="connsiteY4" fmla="*/ 516012 h 636392"/>
                <a:gd name="connsiteX5" fmla="*/ 360313 w 7131836"/>
                <a:gd name="connsiteY5" fmla="*/ 516012 h 636392"/>
                <a:gd name="connsiteX6" fmla="*/ 359519 w 7131836"/>
                <a:gd name="connsiteY6" fmla="*/ 413371 h 636392"/>
                <a:gd name="connsiteX7" fmla="*/ 0 w 7131836"/>
                <a:gd name="connsiteY7" fmla="*/ 299988 h 636392"/>
                <a:gd name="connsiteX8" fmla="*/ 361900 w 7131836"/>
                <a:gd name="connsiteY8" fmla="*/ 253827 h 636392"/>
                <a:gd name="connsiteX9" fmla="*/ 360313 w 7131836"/>
                <a:gd name="connsiteY9"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9412 w 7131836"/>
                <a:gd name="connsiteY4" fmla="*/ 516012 h 636392"/>
                <a:gd name="connsiteX5" fmla="*/ 360313 w 7131836"/>
                <a:gd name="connsiteY5" fmla="*/ 516012 h 636392"/>
                <a:gd name="connsiteX6" fmla="*/ 359519 w 7131836"/>
                <a:gd name="connsiteY6" fmla="*/ 413371 h 636392"/>
                <a:gd name="connsiteX7" fmla="*/ 0 w 7131836"/>
                <a:gd name="connsiteY7" fmla="*/ 299988 h 636392"/>
                <a:gd name="connsiteX8" fmla="*/ 361900 w 7131836"/>
                <a:gd name="connsiteY8" fmla="*/ 253827 h 636392"/>
                <a:gd name="connsiteX9" fmla="*/ 360313 w 7131836"/>
                <a:gd name="connsiteY9" fmla="*/ 156012 h 636392"/>
                <a:gd name="connsiteX0" fmla="*/ 360313 w 8257078"/>
                <a:gd name="connsiteY0" fmla="*/ 156012 h 636392"/>
                <a:gd name="connsiteX1" fmla="*/ 7129412 w 8257078"/>
                <a:gd name="connsiteY1" fmla="*/ 156012 h 636392"/>
                <a:gd name="connsiteX2" fmla="*/ 7131490 w 8257078"/>
                <a:gd name="connsiteY2" fmla="*/ 219074 h 636392"/>
                <a:gd name="connsiteX3" fmla="*/ 7131490 w 8257078"/>
                <a:gd name="connsiteY3" fmla="*/ 319086 h 636392"/>
                <a:gd name="connsiteX4" fmla="*/ 7126308 w 8257078"/>
                <a:gd name="connsiteY4" fmla="*/ 423861 h 636392"/>
                <a:gd name="connsiteX5" fmla="*/ 7129412 w 8257078"/>
                <a:gd name="connsiteY5" fmla="*/ 516012 h 636392"/>
                <a:gd name="connsiteX6" fmla="*/ 360313 w 8257078"/>
                <a:gd name="connsiteY6" fmla="*/ 516012 h 636392"/>
                <a:gd name="connsiteX7" fmla="*/ 359519 w 8257078"/>
                <a:gd name="connsiteY7" fmla="*/ 413371 h 636392"/>
                <a:gd name="connsiteX8" fmla="*/ 0 w 8257078"/>
                <a:gd name="connsiteY8" fmla="*/ 299988 h 636392"/>
                <a:gd name="connsiteX9" fmla="*/ 361900 w 8257078"/>
                <a:gd name="connsiteY9" fmla="*/ 253827 h 636392"/>
                <a:gd name="connsiteX10" fmla="*/ 360313 w 8257078"/>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277141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87585"/>
                <a:gd name="connsiteX1" fmla="*/ 7129412 w 7131836"/>
                <a:gd name="connsiteY1" fmla="*/ 156012 h 687585"/>
                <a:gd name="connsiteX2" fmla="*/ 7131490 w 7131836"/>
                <a:gd name="connsiteY2" fmla="*/ 219074 h 687585"/>
                <a:gd name="connsiteX3" fmla="*/ 6679558 w 7131836"/>
                <a:gd name="connsiteY3" fmla="*/ 349149 h 687585"/>
                <a:gd name="connsiteX4" fmla="*/ 7126308 w 7131836"/>
                <a:gd name="connsiteY4" fmla="*/ 423861 h 687585"/>
                <a:gd name="connsiteX5" fmla="*/ 7129412 w 7131836"/>
                <a:gd name="connsiteY5" fmla="*/ 516012 h 687585"/>
                <a:gd name="connsiteX6" fmla="*/ 360313 w 7131836"/>
                <a:gd name="connsiteY6" fmla="*/ 516012 h 687585"/>
                <a:gd name="connsiteX7" fmla="*/ 359519 w 7131836"/>
                <a:gd name="connsiteY7" fmla="*/ 413371 h 687585"/>
                <a:gd name="connsiteX8" fmla="*/ 0 w 7131836"/>
                <a:gd name="connsiteY8" fmla="*/ 299988 h 687585"/>
                <a:gd name="connsiteX9" fmla="*/ 361900 w 7131836"/>
                <a:gd name="connsiteY9" fmla="*/ 253827 h 687585"/>
                <a:gd name="connsiteX10" fmla="*/ 360313 w 7131836"/>
                <a:gd name="connsiteY10" fmla="*/ 156012 h 687585"/>
                <a:gd name="connsiteX0" fmla="*/ 360313 w 7131836"/>
                <a:gd name="connsiteY0" fmla="*/ 156012 h 649907"/>
                <a:gd name="connsiteX1" fmla="*/ 7129412 w 7131836"/>
                <a:gd name="connsiteY1" fmla="*/ 156012 h 649907"/>
                <a:gd name="connsiteX2" fmla="*/ 7131490 w 7131836"/>
                <a:gd name="connsiteY2" fmla="*/ 219074 h 649907"/>
                <a:gd name="connsiteX3" fmla="*/ 6679558 w 7131836"/>
                <a:gd name="connsiteY3" fmla="*/ 349149 h 649907"/>
                <a:gd name="connsiteX4" fmla="*/ 7126308 w 7131836"/>
                <a:gd name="connsiteY4" fmla="*/ 423861 h 649907"/>
                <a:gd name="connsiteX5" fmla="*/ 7129412 w 7131836"/>
                <a:gd name="connsiteY5" fmla="*/ 516012 h 649907"/>
                <a:gd name="connsiteX6" fmla="*/ 360313 w 7131836"/>
                <a:gd name="connsiteY6" fmla="*/ 516012 h 649907"/>
                <a:gd name="connsiteX7" fmla="*/ 359519 w 7131836"/>
                <a:gd name="connsiteY7" fmla="*/ 413371 h 649907"/>
                <a:gd name="connsiteX8" fmla="*/ 0 w 7131836"/>
                <a:gd name="connsiteY8" fmla="*/ 299988 h 649907"/>
                <a:gd name="connsiteX9" fmla="*/ 361900 w 7131836"/>
                <a:gd name="connsiteY9" fmla="*/ 253827 h 649907"/>
                <a:gd name="connsiteX10" fmla="*/ 360313 w 7131836"/>
                <a:gd name="connsiteY10" fmla="*/ 156012 h 649907"/>
                <a:gd name="connsiteX0" fmla="*/ 360313 w 7131836"/>
                <a:gd name="connsiteY0" fmla="*/ 156012 h 649907"/>
                <a:gd name="connsiteX1" fmla="*/ 7129412 w 7131836"/>
                <a:gd name="connsiteY1" fmla="*/ 156012 h 649907"/>
                <a:gd name="connsiteX2" fmla="*/ 7131490 w 7131836"/>
                <a:gd name="connsiteY2" fmla="*/ 219074 h 649907"/>
                <a:gd name="connsiteX3" fmla="*/ 6679558 w 7131836"/>
                <a:gd name="connsiteY3" fmla="*/ 349149 h 649907"/>
                <a:gd name="connsiteX4" fmla="*/ 7126308 w 7131836"/>
                <a:gd name="connsiteY4" fmla="*/ 423861 h 649907"/>
                <a:gd name="connsiteX5" fmla="*/ 7129412 w 7131836"/>
                <a:gd name="connsiteY5" fmla="*/ 516012 h 649907"/>
                <a:gd name="connsiteX6" fmla="*/ 360313 w 7131836"/>
                <a:gd name="connsiteY6" fmla="*/ 516012 h 649907"/>
                <a:gd name="connsiteX7" fmla="*/ 359519 w 7131836"/>
                <a:gd name="connsiteY7" fmla="*/ 413371 h 649907"/>
                <a:gd name="connsiteX8" fmla="*/ 0 w 7131836"/>
                <a:gd name="connsiteY8" fmla="*/ 299988 h 649907"/>
                <a:gd name="connsiteX9" fmla="*/ 361900 w 7131836"/>
                <a:gd name="connsiteY9" fmla="*/ 253827 h 649907"/>
                <a:gd name="connsiteX10" fmla="*/ 360313 w 7131836"/>
                <a:gd name="connsiteY10" fmla="*/ 156012 h 649907"/>
                <a:gd name="connsiteX0" fmla="*/ 360313 w 7131836"/>
                <a:gd name="connsiteY0" fmla="*/ 156012 h 731862"/>
                <a:gd name="connsiteX1" fmla="*/ 7129412 w 7131836"/>
                <a:gd name="connsiteY1" fmla="*/ 156012 h 731862"/>
                <a:gd name="connsiteX2" fmla="*/ 7131490 w 7131836"/>
                <a:gd name="connsiteY2" fmla="*/ 219074 h 731862"/>
                <a:gd name="connsiteX3" fmla="*/ 6679558 w 7131836"/>
                <a:gd name="connsiteY3" fmla="*/ 349149 h 731862"/>
                <a:gd name="connsiteX4" fmla="*/ 7126308 w 7131836"/>
                <a:gd name="connsiteY4" fmla="*/ 423861 h 731862"/>
                <a:gd name="connsiteX5" fmla="*/ 7129412 w 7131836"/>
                <a:gd name="connsiteY5" fmla="*/ 516012 h 731862"/>
                <a:gd name="connsiteX6" fmla="*/ 360313 w 7131836"/>
                <a:gd name="connsiteY6" fmla="*/ 516012 h 731862"/>
                <a:gd name="connsiteX7" fmla="*/ 359519 w 7131836"/>
                <a:gd name="connsiteY7" fmla="*/ 413371 h 731862"/>
                <a:gd name="connsiteX8" fmla="*/ 0 w 7131836"/>
                <a:gd name="connsiteY8" fmla="*/ 299988 h 731862"/>
                <a:gd name="connsiteX9" fmla="*/ 361900 w 7131836"/>
                <a:gd name="connsiteY9" fmla="*/ 253827 h 731862"/>
                <a:gd name="connsiteX10" fmla="*/ 360313 w 7131836"/>
                <a:gd name="connsiteY10" fmla="*/ 156012 h 731862"/>
                <a:gd name="connsiteX0" fmla="*/ 360313 w 7131836"/>
                <a:gd name="connsiteY0" fmla="*/ 156012 h 684659"/>
                <a:gd name="connsiteX1" fmla="*/ 7129412 w 7131836"/>
                <a:gd name="connsiteY1" fmla="*/ 156012 h 684659"/>
                <a:gd name="connsiteX2" fmla="*/ 7131490 w 7131836"/>
                <a:gd name="connsiteY2" fmla="*/ 219074 h 684659"/>
                <a:gd name="connsiteX3" fmla="*/ 6679558 w 7131836"/>
                <a:gd name="connsiteY3" fmla="*/ 349149 h 684659"/>
                <a:gd name="connsiteX4" fmla="*/ 7126308 w 7131836"/>
                <a:gd name="connsiteY4" fmla="*/ 423861 h 684659"/>
                <a:gd name="connsiteX5" fmla="*/ 7129412 w 7131836"/>
                <a:gd name="connsiteY5" fmla="*/ 516012 h 684659"/>
                <a:gd name="connsiteX6" fmla="*/ 360313 w 7131836"/>
                <a:gd name="connsiteY6" fmla="*/ 516012 h 684659"/>
                <a:gd name="connsiteX7" fmla="*/ 359519 w 7131836"/>
                <a:gd name="connsiteY7" fmla="*/ 413371 h 684659"/>
                <a:gd name="connsiteX8" fmla="*/ 0 w 7131836"/>
                <a:gd name="connsiteY8" fmla="*/ 299988 h 684659"/>
                <a:gd name="connsiteX9" fmla="*/ 361900 w 7131836"/>
                <a:gd name="connsiteY9" fmla="*/ 253827 h 684659"/>
                <a:gd name="connsiteX10" fmla="*/ 360313 w 7131836"/>
                <a:gd name="connsiteY10" fmla="*/ 156012 h 684659"/>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70801 h 651181"/>
                <a:gd name="connsiteX1" fmla="*/ 7129412 w 7131836"/>
                <a:gd name="connsiteY1" fmla="*/ 170801 h 651181"/>
                <a:gd name="connsiteX2" fmla="*/ 7131490 w 7131836"/>
                <a:gd name="connsiteY2" fmla="*/ 233863 h 651181"/>
                <a:gd name="connsiteX3" fmla="*/ 6679558 w 7131836"/>
                <a:gd name="connsiteY3" fmla="*/ 363938 h 651181"/>
                <a:gd name="connsiteX4" fmla="*/ 7126308 w 7131836"/>
                <a:gd name="connsiteY4" fmla="*/ 438650 h 651181"/>
                <a:gd name="connsiteX5" fmla="*/ 7129412 w 7131836"/>
                <a:gd name="connsiteY5" fmla="*/ 530801 h 651181"/>
                <a:gd name="connsiteX6" fmla="*/ 360313 w 7131836"/>
                <a:gd name="connsiteY6" fmla="*/ 530801 h 651181"/>
                <a:gd name="connsiteX7" fmla="*/ 359519 w 7131836"/>
                <a:gd name="connsiteY7" fmla="*/ 428160 h 651181"/>
                <a:gd name="connsiteX8" fmla="*/ 0 w 7131836"/>
                <a:gd name="connsiteY8" fmla="*/ 314777 h 651181"/>
                <a:gd name="connsiteX9" fmla="*/ 361900 w 7131836"/>
                <a:gd name="connsiteY9" fmla="*/ 268616 h 651181"/>
                <a:gd name="connsiteX10" fmla="*/ 360313 w 7131836"/>
                <a:gd name="connsiteY10" fmla="*/ 170801 h 651181"/>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739271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804321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869755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65742 h 646122"/>
                <a:gd name="connsiteX1" fmla="*/ 7129412 w 7131490"/>
                <a:gd name="connsiteY1" fmla="*/ 165742 h 646122"/>
                <a:gd name="connsiteX2" fmla="*/ 7131490 w 7131490"/>
                <a:gd name="connsiteY2" fmla="*/ 228804 h 646122"/>
                <a:gd name="connsiteX3" fmla="*/ 6869755 w 7131490"/>
                <a:gd name="connsiteY3" fmla="*/ 346610 h 646122"/>
                <a:gd name="connsiteX4" fmla="*/ 7126308 w 7131490"/>
                <a:gd name="connsiteY4" fmla="*/ 433591 h 646122"/>
                <a:gd name="connsiteX5" fmla="*/ 7129412 w 7131490"/>
                <a:gd name="connsiteY5" fmla="*/ 525742 h 646122"/>
                <a:gd name="connsiteX6" fmla="*/ 360313 w 7131490"/>
                <a:gd name="connsiteY6" fmla="*/ 525742 h 646122"/>
                <a:gd name="connsiteX7" fmla="*/ 359519 w 7131490"/>
                <a:gd name="connsiteY7" fmla="*/ 423101 h 646122"/>
                <a:gd name="connsiteX8" fmla="*/ 0 w 7131490"/>
                <a:gd name="connsiteY8" fmla="*/ 309718 h 646122"/>
                <a:gd name="connsiteX9" fmla="*/ 361900 w 7131490"/>
                <a:gd name="connsiteY9" fmla="*/ 263557 h 646122"/>
                <a:gd name="connsiteX10" fmla="*/ 360313 w 7131490"/>
                <a:gd name="connsiteY10" fmla="*/ 165742 h 646122"/>
                <a:gd name="connsiteX0" fmla="*/ 360313 w 7131490"/>
                <a:gd name="connsiteY0" fmla="*/ 156012 h 636392"/>
                <a:gd name="connsiteX1" fmla="*/ 7129412 w 7131490"/>
                <a:gd name="connsiteY1" fmla="*/ 156012 h 636392"/>
                <a:gd name="connsiteX2" fmla="*/ 7131490 w 7131490"/>
                <a:gd name="connsiteY2" fmla="*/ 219074 h 636392"/>
                <a:gd name="connsiteX3" fmla="*/ 6869755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295672 w 7066849"/>
                <a:gd name="connsiteY0" fmla="*/ 119120 h 636392"/>
                <a:gd name="connsiteX1" fmla="*/ 7064771 w 7066849"/>
                <a:gd name="connsiteY1" fmla="*/ 119120 h 636392"/>
                <a:gd name="connsiteX2" fmla="*/ 7066849 w 7066849"/>
                <a:gd name="connsiteY2" fmla="*/ 182182 h 636392"/>
                <a:gd name="connsiteX3" fmla="*/ 6805114 w 7066849"/>
                <a:gd name="connsiteY3" fmla="*/ 299988 h 636392"/>
                <a:gd name="connsiteX4" fmla="*/ 7061667 w 7066849"/>
                <a:gd name="connsiteY4" fmla="*/ 386969 h 636392"/>
                <a:gd name="connsiteX5" fmla="*/ 7064771 w 7066849"/>
                <a:gd name="connsiteY5" fmla="*/ 479120 h 636392"/>
                <a:gd name="connsiteX6" fmla="*/ 295672 w 7066849"/>
                <a:gd name="connsiteY6" fmla="*/ 479120 h 636392"/>
                <a:gd name="connsiteX7" fmla="*/ 294878 w 7066849"/>
                <a:gd name="connsiteY7" fmla="*/ 376479 h 636392"/>
                <a:gd name="connsiteX8" fmla="*/ 0 w 7066849"/>
                <a:gd name="connsiteY8" fmla="*/ 299988 h 636392"/>
                <a:gd name="connsiteX9" fmla="*/ 297259 w 7066849"/>
                <a:gd name="connsiteY9" fmla="*/ 216935 h 636392"/>
                <a:gd name="connsiteX10" fmla="*/ 295672 w 7066849"/>
                <a:gd name="connsiteY10" fmla="*/ 119120 h 636392"/>
                <a:gd name="connsiteX0" fmla="*/ 295672 w 7066849"/>
                <a:gd name="connsiteY0" fmla="*/ 119120 h 636392"/>
                <a:gd name="connsiteX1" fmla="*/ 7064771 w 7066849"/>
                <a:gd name="connsiteY1" fmla="*/ 119120 h 636392"/>
                <a:gd name="connsiteX2" fmla="*/ 7066849 w 7066849"/>
                <a:gd name="connsiteY2" fmla="*/ 182182 h 636392"/>
                <a:gd name="connsiteX3" fmla="*/ 6805114 w 7066849"/>
                <a:gd name="connsiteY3" fmla="*/ 299988 h 636392"/>
                <a:gd name="connsiteX4" fmla="*/ 7061667 w 7066849"/>
                <a:gd name="connsiteY4" fmla="*/ 386969 h 636392"/>
                <a:gd name="connsiteX5" fmla="*/ 7064771 w 7066849"/>
                <a:gd name="connsiteY5" fmla="*/ 479120 h 636392"/>
                <a:gd name="connsiteX6" fmla="*/ 295672 w 7066849"/>
                <a:gd name="connsiteY6" fmla="*/ 479120 h 636392"/>
                <a:gd name="connsiteX7" fmla="*/ 294878 w 7066849"/>
                <a:gd name="connsiteY7" fmla="*/ 376479 h 636392"/>
                <a:gd name="connsiteX8" fmla="*/ 0 w 7066849"/>
                <a:gd name="connsiteY8" fmla="*/ 299988 h 636392"/>
                <a:gd name="connsiteX9" fmla="*/ 297259 w 7066849"/>
                <a:gd name="connsiteY9" fmla="*/ 216935 h 636392"/>
                <a:gd name="connsiteX10" fmla="*/ 295672 w 7066849"/>
                <a:gd name="connsiteY10" fmla="*/ 119120 h 636392"/>
                <a:gd name="connsiteX0" fmla="*/ 295672 w 7066849"/>
                <a:gd name="connsiteY0" fmla="*/ 119120 h 592875"/>
                <a:gd name="connsiteX1" fmla="*/ 7064771 w 7066849"/>
                <a:gd name="connsiteY1" fmla="*/ 119120 h 592875"/>
                <a:gd name="connsiteX2" fmla="*/ 7066849 w 7066849"/>
                <a:gd name="connsiteY2" fmla="*/ 182182 h 592875"/>
                <a:gd name="connsiteX3" fmla="*/ 6805114 w 7066849"/>
                <a:gd name="connsiteY3" fmla="*/ 299988 h 592875"/>
                <a:gd name="connsiteX4" fmla="*/ 7061667 w 7066849"/>
                <a:gd name="connsiteY4" fmla="*/ 386969 h 592875"/>
                <a:gd name="connsiteX5" fmla="*/ 7064771 w 7066849"/>
                <a:gd name="connsiteY5" fmla="*/ 479120 h 592875"/>
                <a:gd name="connsiteX6" fmla="*/ 295672 w 7066849"/>
                <a:gd name="connsiteY6" fmla="*/ 479120 h 592875"/>
                <a:gd name="connsiteX7" fmla="*/ 294878 w 7066849"/>
                <a:gd name="connsiteY7" fmla="*/ 376479 h 592875"/>
                <a:gd name="connsiteX8" fmla="*/ 0 w 7066849"/>
                <a:gd name="connsiteY8" fmla="*/ 299988 h 592875"/>
                <a:gd name="connsiteX9" fmla="*/ 297259 w 7066849"/>
                <a:gd name="connsiteY9" fmla="*/ 216935 h 592875"/>
                <a:gd name="connsiteX10" fmla="*/ 295672 w 7066849"/>
                <a:gd name="connsiteY10" fmla="*/ 119120 h 59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66849" h="592875">
                  <a:moveTo>
                    <a:pt x="295672" y="119120"/>
                  </a:moveTo>
                  <a:lnTo>
                    <a:pt x="7064771" y="119120"/>
                  </a:lnTo>
                  <a:cubicBezTo>
                    <a:pt x="7065464" y="140141"/>
                    <a:pt x="7066156" y="161161"/>
                    <a:pt x="7066849" y="182182"/>
                  </a:cubicBezTo>
                  <a:cubicBezTo>
                    <a:pt x="7046360" y="269439"/>
                    <a:pt x="6841910" y="14340"/>
                    <a:pt x="6805114" y="299988"/>
                  </a:cubicBezTo>
                  <a:cubicBezTo>
                    <a:pt x="6872918" y="574008"/>
                    <a:pt x="7054701" y="296726"/>
                    <a:pt x="7061667" y="386969"/>
                  </a:cubicBezTo>
                  <a:lnTo>
                    <a:pt x="7064771" y="479120"/>
                  </a:lnTo>
                  <a:lnTo>
                    <a:pt x="295672" y="479120"/>
                  </a:lnTo>
                  <a:cubicBezTo>
                    <a:pt x="295407" y="444906"/>
                    <a:pt x="295143" y="410693"/>
                    <a:pt x="294878" y="376479"/>
                  </a:cubicBezTo>
                  <a:cubicBezTo>
                    <a:pt x="294746" y="345878"/>
                    <a:pt x="19937" y="592875"/>
                    <a:pt x="0" y="299988"/>
                  </a:cubicBezTo>
                  <a:cubicBezTo>
                    <a:pt x="22968" y="0"/>
                    <a:pt x="297127" y="246334"/>
                    <a:pt x="297259" y="216935"/>
                  </a:cubicBezTo>
                  <a:lnTo>
                    <a:pt x="295672" y="1191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Peer group</a:t>
              </a:r>
              <a:endParaRPr lang="en-US" sz="900" b="1" dirty="0"/>
            </a:p>
          </p:txBody>
        </p:sp>
        <p:sp>
          <p:nvSpPr>
            <p:cNvPr id="127" name="Textfeld 126"/>
            <p:cNvSpPr txBox="1"/>
            <p:nvPr/>
          </p:nvSpPr>
          <p:spPr>
            <a:xfrm>
              <a:off x="272481" y="5514144"/>
              <a:ext cx="7920479" cy="246221"/>
            </a:xfrm>
            <a:prstGeom prst="rect">
              <a:avLst/>
            </a:prstGeom>
            <a:noFill/>
          </p:spPr>
          <p:txBody>
            <a:bodyPr wrap="square" lIns="0" tIns="0" rIns="0" bIns="0" rtlCol="0">
              <a:spAutoFit/>
            </a:bodyPr>
            <a:lstStyle/>
            <a:p>
              <a:pPr marL="360363" indent="-360363"/>
              <a:r>
                <a:rPr lang="en-US" sz="800" dirty="0">
                  <a:latin typeface="Arial" pitchFamily="34" charset="0"/>
                  <a:cs typeface="Arial" pitchFamily="34" charset="0"/>
                </a:rPr>
                <a:t>Note:	a) See Market Analysis workbook; b) see Expenses (</a:t>
              </a:r>
              <a:r>
                <a:rPr lang="en-US" sz="800" dirty="0" err="1">
                  <a:latin typeface="Arial" pitchFamily="34" charset="0"/>
                  <a:cs typeface="Arial" pitchFamily="34" charset="0"/>
                </a:rPr>
                <a:t>CoS</a:t>
              </a:r>
              <a:r>
                <a:rPr lang="en-US" sz="800" dirty="0">
                  <a:latin typeface="Arial" pitchFamily="34" charset="0"/>
                  <a:cs typeface="Arial" pitchFamily="34" charset="0"/>
                </a:rPr>
                <a:t> or TCM) workbooks; c) see Planning Process and Adherence to Planning workbook; d) see Investments (Planning) workbook; e) see Normalized Earnings workbook; f) see Synergy Management workbook </a:t>
              </a:r>
              <a:endParaRPr lang="en-US" sz="800" dirty="0">
                <a:latin typeface="Arial" pitchFamily="34" charset="0"/>
                <a:cs typeface="Arial" pitchFamily="34" charset="0"/>
              </a:endParaRPr>
            </a:p>
          </p:txBody>
        </p:sp>
        <p:sp>
          <p:nvSpPr>
            <p:cNvPr id="128" name="Pfeil nach rechts 127"/>
            <p:cNvSpPr/>
            <p:nvPr/>
          </p:nvSpPr>
          <p:spPr>
            <a:xfrm>
              <a:off x="8920069" y="2125236"/>
              <a:ext cx="260975" cy="2304256"/>
            </a:xfrm>
            <a:prstGeom prst="rightArrow">
              <a:avLst>
                <a:gd name="adj1" fmla="val 100000"/>
                <a:gd name="adj2" fmla="val 100000"/>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US" sz="900" b="1" dirty="0" smtClean="0"/>
            </a:p>
          </p:txBody>
        </p:sp>
        <p:sp>
          <p:nvSpPr>
            <p:cNvPr id="129" name="Freihandform 128"/>
            <p:cNvSpPr/>
            <p:nvPr/>
          </p:nvSpPr>
          <p:spPr>
            <a:xfrm rot="10800000">
              <a:off x="272481" y="1106076"/>
              <a:ext cx="676408" cy="4381763"/>
            </a:xfrm>
            <a:custGeom>
              <a:avLst/>
              <a:gdLst>
                <a:gd name="connsiteX0" fmla="*/ 0 w 537964"/>
                <a:gd name="connsiteY0" fmla="*/ 0 h 4968329"/>
                <a:gd name="connsiteX1" fmla="*/ 537964 w 537964"/>
                <a:gd name="connsiteY1" fmla="*/ 0 h 4968329"/>
                <a:gd name="connsiteX2" fmla="*/ 537964 w 537964"/>
                <a:gd name="connsiteY2" fmla="*/ 4968329 h 4968329"/>
                <a:gd name="connsiteX3" fmla="*/ 0 w 537964"/>
                <a:gd name="connsiteY3" fmla="*/ 4968329 h 4968329"/>
                <a:gd name="connsiteX4" fmla="*/ 0 w 537964"/>
                <a:gd name="connsiteY4"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1 w 539055"/>
                <a:gd name="connsiteY5" fmla="*/ 0 h 4968329"/>
                <a:gd name="connsiteX0" fmla="*/ 89313 w 627277"/>
                <a:gd name="connsiteY0" fmla="*/ 543632 h 5511961"/>
                <a:gd name="connsiteX1" fmla="*/ 627277 w 627277"/>
                <a:gd name="connsiteY1" fmla="*/ 543632 h 5511961"/>
                <a:gd name="connsiteX2" fmla="*/ 627277 w 627277"/>
                <a:gd name="connsiteY2" fmla="*/ 5511961 h 5511961"/>
                <a:gd name="connsiteX3" fmla="*/ 89313 w 627277"/>
                <a:gd name="connsiteY3" fmla="*/ 5511961 h 5511961"/>
                <a:gd name="connsiteX4" fmla="*/ 88222 w 627277"/>
                <a:gd name="connsiteY4" fmla="*/ 807380 h 5511961"/>
                <a:gd name="connsiteX5" fmla="*/ 91398 w 627277"/>
                <a:gd name="connsiteY5" fmla="*/ 667680 h 5511961"/>
                <a:gd name="connsiteX6" fmla="*/ 89313 w 627277"/>
                <a:gd name="connsiteY6" fmla="*/ 543632 h 5511961"/>
                <a:gd name="connsiteX0" fmla="*/ 89313 w 627277"/>
                <a:gd name="connsiteY0" fmla="*/ 0 h 4968329"/>
                <a:gd name="connsiteX1" fmla="*/ 627277 w 627277"/>
                <a:gd name="connsiteY1" fmla="*/ 0 h 4968329"/>
                <a:gd name="connsiteX2" fmla="*/ 627277 w 627277"/>
                <a:gd name="connsiteY2" fmla="*/ 4968329 h 4968329"/>
                <a:gd name="connsiteX3" fmla="*/ 89313 w 627277"/>
                <a:gd name="connsiteY3" fmla="*/ 4968329 h 4968329"/>
                <a:gd name="connsiteX4" fmla="*/ 88222 w 627277"/>
                <a:gd name="connsiteY4" fmla="*/ 263748 h 4968329"/>
                <a:gd name="connsiteX5" fmla="*/ 91398 w 627277"/>
                <a:gd name="connsiteY5" fmla="*/ 124048 h 4968329"/>
                <a:gd name="connsiteX6" fmla="*/ 89313 w 627277"/>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091 w 539055"/>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51941 h 5020270"/>
                <a:gd name="connsiteX1" fmla="*/ 539055 w 539055"/>
                <a:gd name="connsiteY1" fmla="*/ 51941 h 5020270"/>
                <a:gd name="connsiteX2" fmla="*/ 539055 w 539055"/>
                <a:gd name="connsiteY2" fmla="*/ 5020270 h 5020270"/>
                <a:gd name="connsiteX3" fmla="*/ 1091 w 539055"/>
                <a:gd name="connsiteY3" fmla="*/ 5020270 h 5020270"/>
                <a:gd name="connsiteX4" fmla="*/ 0 w 539055"/>
                <a:gd name="connsiteY4" fmla="*/ 315689 h 5020270"/>
                <a:gd name="connsiteX5" fmla="*/ 361132 w 539055"/>
                <a:gd name="connsiteY5" fmla="*/ 195957 h 5020270"/>
                <a:gd name="connsiteX6" fmla="*/ 1 w 539055"/>
                <a:gd name="connsiteY6" fmla="*/ 96614 h 5020270"/>
                <a:gd name="connsiteX7" fmla="*/ 1091 w 539055"/>
                <a:gd name="connsiteY7" fmla="*/ 51941 h 5020270"/>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107504 h 5075833"/>
                <a:gd name="connsiteX1" fmla="*/ 539055 w 539055"/>
                <a:gd name="connsiteY1" fmla="*/ 107504 h 5075833"/>
                <a:gd name="connsiteX2" fmla="*/ 539055 w 539055"/>
                <a:gd name="connsiteY2" fmla="*/ 5075833 h 5075833"/>
                <a:gd name="connsiteX3" fmla="*/ 1091 w 539055"/>
                <a:gd name="connsiteY3" fmla="*/ 5075833 h 5075833"/>
                <a:gd name="connsiteX4" fmla="*/ 0 w 539055"/>
                <a:gd name="connsiteY4" fmla="*/ 371252 h 5075833"/>
                <a:gd name="connsiteX5" fmla="*/ 361132 w 539055"/>
                <a:gd name="connsiteY5" fmla="*/ 251520 h 5075833"/>
                <a:gd name="connsiteX6" fmla="*/ 1 w 539055"/>
                <a:gd name="connsiteY6" fmla="*/ 152177 h 5075833"/>
                <a:gd name="connsiteX7" fmla="*/ 1091 w 539055"/>
                <a:gd name="connsiteY7" fmla="*/ 107504 h 5075833"/>
                <a:gd name="connsiteX0" fmla="*/ 1091 w 539055"/>
                <a:gd name="connsiteY0" fmla="*/ 55340 h 5023669"/>
                <a:gd name="connsiteX1" fmla="*/ 539055 w 539055"/>
                <a:gd name="connsiteY1" fmla="*/ 55340 h 5023669"/>
                <a:gd name="connsiteX2" fmla="*/ 539055 w 539055"/>
                <a:gd name="connsiteY2" fmla="*/ 5023669 h 5023669"/>
                <a:gd name="connsiteX3" fmla="*/ 1091 w 539055"/>
                <a:gd name="connsiteY3" fmla="*/ 5023669 h 5023669"/>
                <a:gd name="connsiteX4" fmla="*/ 0 w 539055"/>
                <a:gd name="connsiteY4" fmla="*/ 319088 h 5023669"/>
                <a:gd name="connsiteX5" fmla="*/ 361132 w 539055"/>
                <a:gd name="connsiteY5" fmla="*/ 199356 h 5023669"/>
                <a:gd name="connsiteX6" fmla="*/ 1 w 539055"/>
                <a:gd name="connsiteY6" fmla="*/ 100013 h 5023669"/>
                <a:gd name="connsiteX7" fmla="*/ 1091 w 539055"/>
                <a:gd name="connsiteY7" fmla="*/ 55340 h 5023669"/>
                <a:gd name="connsiteX0" fmla="*/ 1091 w 539055"/>
                <a:gd name="connsiteY0" fmla="*/ 100584 h 5068913"/>
                <a:gd name="connsiteX1" fmla="*/ 539055 w 539055"/>
                <a:gd name="connsiteY1" fmla="*/ 100584 h 5068913"/>
                <a:gd name="connsiteX2" fmla="*/ 539055 w 539055"/>
                <a:gd name="connsiteY2" fmla="*/ 5068913 h 5068913"/>
                <a:gd name="connsiteX3" fmla="*/ 1091 w 539055"/>
                <a:gd name="connsiteY3" fmla="*/ 5068913 h 5068913"/>
                <a:gd name="connsiteX4" fmla="*/ 0 w 539055"/>
                <a:gd name="connsiteY4" fmla="*/ 364332 h 5068913"/>
                <a:gd name="connsiteX5" fmla="*/ 361132 w 539055"/>
                <a:gd name="connsiteY5" fmla="*/ 244600 h 5068913"/>
                <a:gd name="connsiteX6" fmla="*/ 1 w 539055"/>
                <a:gd name="connsiteY6" fmla="*/ 145257 h 5068913"/>
                <a:gd name="connsiteX7" fmla="*/ 1091 w 539055"/>
                <a:gd name="connsiteY7" fmla="*/ 100584 h 5068913"/>
                <a:gd name="connsiteX0" fmla="*/ 1091 w 539055"/>
                <a:gd name="connsiteY0" fmla="*/ 139478 h 5107807"/>
                <a:gd name="connsiteX1" fmla="*/ 539055 w 539055"/>
                <a:gd name="connsiteY1" fmla="*/ 139478 h 5107807"/>
                <a:gd name="connsiteX2" fmla="*/ 539055 w 539055"/>
                <a:gd name="connsiteY2" fmla="*/ 5107807 h 5107807"/>
                <a:gd name="connsiteX3" fmla="*/ 1091 w 539055"/>
                <a:gd name="connsiteY3" fmla="*/ 5107807 h 5107807"/>
                <a:gd name="connsiteX4" fmla="*/ 0 w 539055"/>
                <a:gd name="connsiteY4" fmla="*/ 403226 h 5107807"/>
                <a:gd name="connsiteX5" fmla="*/ 361132 w 539055"/>
                <a:gd name="connsiteY5" fmla="*/ 283494 h 5107807"/>
                <a:gd name="connsiteX6" fmla="*/ 1 w 539055"/>
                <a:gd name="connsiteY6" fmla="*/ 184151 h 5107807"/>
                <a:gd name="connsiteX7" fmla="*/ 1091 w 539055"/>
                <a:gd name="connsiteY7" fmla="*/ 139478 h 5107807"/>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092 w 539055"/>
                <a:gd name="connsiteY6" fmla="*/ 165673 h 5061993"/>
                <a:gd name="connsiteX7" fmla="*/ 1091 w 539055"/>
                <a:gd name="connsiteY7" fmla="*/ 93664 h 5061993"/>
                <a:gd name="connsiteX0" fmla="*/ 1091 w 539055"/>
                <a:gd name="connsiteY0" fmla="*/ 21655 h 4989984"/>
                <a:gd name="connsiteX1" fmla="*/ 539055 w 539055"/>
                <a:gd name="connsiteY1" fmla="*/ 21655 h 4989984"/>
                <a:gd name="connsiteX2" fmla="*/ 539055 w 539055"/>
                <a:gd name="connsiteY2" fmla="*/ 4989984 h 4989984"/>
                <a:gd name="connsiteX3" fmla="*/ 1091 w 539055"/>
                <a:gd name="connsiteY3" fmla="*/ 4989984 h 4989984"/>
                <a:gd name="connsiteX4" fmla="*/ 0 w 539055"/>
                <a:gd name="connsiteY4" fmla="*/ 285403 h 4989984"/>
                <a:gd name="connsiteX5" fmla="*/ 361132 w 539055"/>
                <a:gd name="connsiteY5" fmla="*/ 237680 h 4989984"/>
                <a:gd name="connsiteX6" fmla="*/ 1092 w 539055"/>
                <a:gd name="connsiteY6" fmla="*/ 93664 h 4989984"/>
                <a:gd name="connsiteX7" fmla="*/ 1091 w 539055"/>
                <a:gd name="connsiteY7" fmla="*/ 21655 h 4989984"/>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147415 h 5115744"/>
                <a:gd name="connsiteX1" fmla="*/ 539055 w 539055"/>
                <a:gd name="connsiteY1" fmla="*/ 147415 h 5115744"/>
                <a:gd name="connsiteX2" fmla="*/ 539055 w 539055"/>
                <a:gd name="connsiteY2" fmla="*/ 5115744 h 5115744"/>
                <a:gd name="connsiteX3" fmla="*/ 1091 w 539055"/>
                <a:gd name="connsiteY3" fmla="*/ 5115744 h 5115744"/>
                <a:gd name="connsiteX4" fmla="*/ 0 w 539055"/>
                <a:gd name="connsiteY4" fmla="*/ 411163 h 5115744"/>
                <a:gd name="connsiteX5" fmla="*/ 361132 w 539055"/>
                <a:gd name="connsiteY5" fmla="*/ 293813 h 5115744"/>
                <a:gd name="connsiteX6" fmla="*/ 1092 w 539055"/>
                <a:gd name="connsiteY6" fmla="*/ 219424 h 5115744"/>
                <a:gd name="connsiteX7" fmla="*/ 1091 w 539055"/>
                <a:gd name="connsiteY7" fmla="*/ 147415 h 5115744"/>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433140 w 539055"/>
                <a:gd name="connsiteY5" fmla="*/ 293813 h 5043736"/>
                <a:gd name="connsiteX6" fmla="*/ 1092 w 539055"/>
                <a:gd name="connsiteY6" fmla="*/ 147416 h 5043736"/>
                <a:gd name="connsiteX7" fmla="*/ 1091 w 539055"/>
                <a:gd name="connsiteY7" fmla="*/ 75407 h 5043736"/>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361132 w 539055"/>
                <a:gd name="connsiteY5" fmla="*/ 293813 h 5043736"/>
                <a:gd name="connsiteX6" fmla="*/ 1092 w 539055"/>
                <a:gd name="connsiteY6" fmla="*/ 147416 h 5043736"/>
                <a:gd name="connsiteX7" fmla="*/ 1091 w 539055"/>
                <a:gd name="connsiteY7" fmla="*/ 75407 h 5043736"/>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89842 w 627806"/>
                <a:gd name="connsiteY0" fmla="*/ 109761 h 5695476"/>
                <a:gd name="connsiteX1" fmla="*/ 627806 w 627806"/>
                <a:gd name="connsiteY1" fmla="*/ 109761 h 5695476"/>
                <a:gd name="connsiteX2" fmla="*/ 627806 w 627806"/>
                <a:gd name="connsiteY2" fmla="*/ 5078090 h 5695476"/>
                <a:gd name="connsiteX3" fmla="*/ 89842 w 627806"/>
                <a:gd name="connsiteY3" fmla="*/ 5078090 h 5695476"/>
                <a:gd name="connsiteX4" fmla="*/ 88752 w 627806"/>
                <a:gd name="connsiteY4" fmla="*/ 4911379 h 5695476"/>
                <a:gd name="connsiteX5" fmla="*/ 88751 w 627806"/>
                <a:gd name="connsiteY5" fmla="*/ 373509 h 5695476"/>
                <a:gd name="connsiteX6" fmla="*/ 449883 w 627806"/>
                <a:gd name="connsiteY6" fmla="*/ 328167 h 5695476"/>
                <a:gd name="connsiteX7" fmla="*/ 89843 w 627806"/>
                <a:gd name="connsiteY7" fmla="*/ 184151 h 5695476"/>
                <a:gd name="connsiteX8" fmla="*/ 89842 w 627806"/>
                <a:gd name="connsiteY8" fmla="*/ 109761 h 5695476"/>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0189 w 599243"/>
                <a:gd name="connsiteY4" fmla="*/ 49113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1280 w 599243"/>
                <a:gd name="connsiteY4" fmla="*/ 49366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0486 w 598450"/>
                <a:gd name="connsiteY0" fmla="*/ 109761 h 5567132"/>
                <a:gd name="connsiteX1" fmla="*/ 598450 w 598450"/>
                <a:gd name="connsiteY1" fmla="*/ 109761 h 5567132"/>
                <a:gd name="connsiteX2" fmla="*/ 598450 w 598450"/>
                <a:gd name="connsiteY2" fmla="*/ 5078090 h 5567132"/>
                <a:gd name="connsiteX3" fmla="*/ 60486 w 598450"/>
                <a:gd name="connsiteY3" fmla="*/ 5078090 h 5567132"/>
                <a:gd name="connsiteX4" fmla="*/ 60487 w 598450"/>
                <a:gd name="connsiteY4" fmla="*/ 4936679 h 5567132"/>
                <a:gd name="connsiteX5" fmla="*/ 64159 w 598450"/>
                <a:gd name="connsiteY5" fmla="*/ 4806604 h 5567132"/>
                <a:gd name="connsiteX6" fmla="*/ 59395 w 598450"/>
                <a:gd name="connsiteY6" fmla="*/ 373509 h 5567132"/>
                <a:gd name="connsiteX7" fmla="*/ 420527 w 598450"/>
                <a:gd name="connsiteY7" fmla="*/ 328167 h 5567132"/>
                <a:gd name="connsiteX8" fmla="*/ 60487 w 598450"/>
                <a:gd name="connsiteY8" fmla="*/ 184151 h 5567132"/>
                <a:gd name="connsiteX9" fmla="*/ 60486 w 598450"/>
                <a:gd name="connsiteY9" fmla="*/ 109761 h 5567132"/>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7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864671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89842 w 627806"/>
                <a:gd name="connsiteY0" fmla="*/ 109761 h 5078090"/>
                <a:gd name="connsiteX1" fmla="*/ 627806 w 627806"/>
                <a:gd name="connsiteY1" fmla="*/ 109761 h 5078090"/>
                <a:gd name="connsiteX2" fmla="*/ 627806 w 627806"/>
                <a:gd name="connsiteY2" fmla="*/ 5078090 h 5078090"/>
                <a:gd name="connsiteX3" fmla="*/ 89842 w 627806"/>
                <a:gd name="connsiteY3" fmla="*/ 5078090 h 5078090"/>
                <a:gd name="connsiteX4" fmla="*/ 88751 w 627806"/>
                <a:gd name="connsiteY4" fmla="*/ 4997104 h 5078090"/>
                <a:gd name="connsiteX5" fmla="*/ 89842 w 627806"/>
                <a:gd name="connsiteY5" fmla="*/ 4864671 h 5078090"/>
                <a:gd name="connsiteX6" fmla="*/ 93515 w 627806"/>
                <a:gd name="connsiteY6" fmla="*/ 4806604 h 5078090"/>
                <a:gd name="connsiteX7" fmla="*/ 88751 w 627806"/>
                <a:gd name="connsiteY7" fmla="*/ 373509 h 5078090"/>
                <a:gd name="connsiteX8" fmla="*/ 449883 w 627806"/>
                <a:gd name="connsiteY8" fmla="*/ 328167 h 5078090"/>
                <a:gd name="connsiteX9" fmla="*/ 89843 w 627806"/>
                <a:gd name="connsiteY9" fmla="*/ 184151 h 5078090"/>
                <a:gd name="connsiteX10" fmla="*/ 89842 w 627806"/>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577203"/>
                <a:gd name="connsiteX1" fmla="*/ 598450 w 598450"/>
                <a:gd name="connsiteY1" fmla="*/ 109761 h 5577203"/>
                <a:gd name="connsiteX2" fmla="*/ 598450 w 598450"/>
                <a:gd name="connsiteY2" fmla="*/ 5078090 h 5577203"/>
                <a:gd name="connsiteX3" fmla="*/ 60486 w 598450"/>
                <a:gd name="connsiteY3" fmla="*/ 5078090 h 5577203"/>
                <a:gd name="connsiteX4" fmla="*/ 59395 w 598450"/>
                <a:gd name="connsiteY4" fmla="*/ 4997104 h 5577203"/>
                <a:gd name="connsiteX5" fmla="*/ 64159 w 598450"/>
                <a:gd name="connsiteY5" fmla="*/ 4806604 h 5577203"/>
                <a:gd name="connsiteX6" fmla="*/ 59395 w 598450"/>
                <a:gd name="connsiteY6" fmla="*/ 373509 h 5577203"/>
                <a:gd name="connsiteX7" fmla="*/ 420527 w 598450"/>
                <a:gd name="connsiteY7" fmla="*/ 328167 h 5577203"/>
                <a:gd name="connsiteX8" fmla="*/ 60487 w 598450"/>
                <a:gd name="connsiteY8" fmla="*/ 184151 h 5577203"/>
                <a:gd name="connsiteX9" fmla="*/ 60486 w 598450"/>
                <a:gd name="connsiteY9" fmla="*/ 109761 h 5577203"/>
                <a:gd name="connsiteX0" fmla="*/ 64159 w 598450"/>
                <a:gd name="connsiteY0" fmla="*/ 4806604 h 5088544"/>
                <a:gd name="connsiteX1" fmla="*/ 59395 w 598450"/>
                <a:gd name="connsiteY1" fmla="*/ 373509 h 5088544"/>
                <a:gd name="connsiteX2" fmla="*/ 420527 w 598450"/>
                <a:gd name="connsiteY2" fmla="*/ 328167 h 5088544"/>
                <a:gd name="connsiteX3" fmla="*/ 60487 w 598450"/>
                <a:gd name="connsiteY3" fmla="*/ 184151 h 5088544"/>
                <a:gd name="connsiteX4" fmla="*/ 60486 w 598450"/>
                <a:gd name="connsiteY4" fmla="*/ 109761 h 5088544"/>
                <a:gd name="connsiteX5" fmla="*/ 598450 w 598450"/>
                <a:gd name="connsiteY5" fmla="*/ 109761 h 5088544"/>
                <a:gd name="connsiteX6" fmla="*/ 598450 w 598450"/>
                <a:gd name="connsiteY6" fmla="*/ 5078090 h 5088544"/>
                <a:gd name="connsiteX7" fmla="*/ 60486 w 598450"/>
                <a:gd name="connsiteY7" fmla="*/ 5078090 h 5088544"/>
                <a:gd name="connsiteX8" fmla="*/ 150835 w 598450"/>
                <a:gd name="connsiteY8" fmla="*/ 5088544 h 5088544"/>
                <a:gd name="connsiteX0" fmla="*/ 64159 w 598450"/>
                <a:gd name="connsiteY0" fmla="*/ 4806604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4720655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5080695 h 5080695"/>
                <a:gd name="connsiteX1" fmla="*/ 59395 w 598450"/>
                <a:gd name="connsiteY1" fmla="*/ 373509 h 5080695"/>
                <a:gd name="connsiteX2" fmla="*/ 420527 w 598450"/>
                <a:gd name="connsiteY2" fmla="*/ 328167 h 5080695"/>
                <a:gd name="connsiteX3" fmla="*/ 60487 w 598450"/>
                <a:gd name="connsiteY3" fmla="*/ 184151 h 5080695"/>
                <a:gd name="connsiteX4" fmla="*/ 60486 w 598450"/>
                <a:gd name="connsiteY4" fmla="*/ 109761 h 5080695"/>
                <a:gd name="connsiteX5" fmla="*/ 598450 w 598450"/>
                <a:gd name="connsiteY5" fmla="*/ 109761 h 5080695"/>
                <a:gd name="connsiteX6" fmla="*/ 598450 w 598450"/>
                <a:gd name="connsiteY6" fmla="*/ 5078090 h 5080695"/>
                <a:gd name="connsiteX7" fmla="*/ 60486 w 598450"/>
                <a:gd name="connsiteY7" fmla="*/ 5078090 h 5080695"/>
                <a:gd name="connsiteX0" fmla="*/ 62073 w 600037"/>
                <a:gd name="connsiteY0" fmla="*/ 5080695 h 5567322"/>
                <a:gd name="connsiteX1" fmla="*/ 56220 w 600037"/>
                <a:gd name="connsiteY1" fmla="*/ 4782791 h 5567322"/>
                <a:gd name="connsiteX2" fmla="*/ 60982 w 600037"/>
                <a:gd name="connsiteY2" fmla="*/ 373509 h 5567322"/>
                <a:gd name="connsiteX3" fmla="*/ 422114 w 600037"/>
                <a:gd name="connsiteY3" fmla="*/ 328167 h 5567322"/>
                <a:gd name="connsiteX4" fmla="*/ 62074 w 600037"/>
                <a:gd name="connsiteY4" fmla="*/ 184151 h 5567322"/>
                <a:gd name="connsiteX5" fmla="*/ 62073 w 600037"/>
                <a:gd name="connsiteY5" fmla="*/ 109761 h 5567322"/>
                <a:gd name="connsiteX6" fmla="*/ 600037 w 600037"/>
                <a:gd name="connsiteY6" fmla="*/ 109761 h 5567322"/>
                <a:gd name="connsiteX7" fmla="*/ 600037 w 600037"/>
                <a:gd name="connsiteY7" fmla="*/ 5078090 h 5567322"/>
                <a:gd name="connsiteX8" fmla="*/ 62073 w 600037"/>
                <a:gd name="connsiteY8" fmla="*/ 5078090 h 5567322"/>
                <a:gd name="connsiteX0" fmla="*/ 62073 w 600037"/>
                <a:gd name="connsiteY0" fmla="*/ 5080695 h 5080695"/>
                <a:gd name="connsiteX1" fmla="*/ 56220 w 600037"/>
                <a:gd name="connsiteY1" fmla="*/ 4782791 h 5080695"/>
                <a:gd name="connsiteX2" fmla="*/ 60982 w 600037"/>
                <a:gd name="connsiteY2" fmla="*/ 373509 h 5080695"/>
                <a:gd name="connsiteX3" fmla="*/ 422114 w 600037"/>
                <a:gd name="connsiteY3" fmla="*/ 328167 h 5080695"/>
                <a:gd name="connsiteX4" fmla="*/ 62074 w 600037"/>
                <a:gd name="connsiteY4" fmla="*/ 184151 h 5080695"/>
                <a:gd name="connsiteX5" fmla="*/ 62073 w 600037"/>
                <a:gd name="connsiteY5" fmla="*/ 109761 h 5080695"/>
                <a:gd name="connsiteX6" fmla="*/ 600037 w 600037"/>
                <a:gd name="connsiteY6" fmla="*/ 109761 h 5080695"/>
                <a:gd name="connsiteX7" fmla="*/ 600037 w 600037"/>
                <a:gd name="connsiteY7" fmla="*/ 5078090 h 5080695"/>
                <a:gd name="connsiteX8" fmla="*/ 62073 w 600037"/>
                <a:gd name="connsiteY8" fmla="*/ 5078090 h 5080695"/>
                <a:gd name="connsiteX0" fmla="*/ 62073 w 600037"/>
                <a:gd name="connsiteY0" fmla="*/ 5080695 h 5080695"/>
                <a:gd name="connsiteX1" fmla="*/ 51458 w 600037"/>
                <a:gd name="connsiteY1" fmla="*/ 4901854 h 5080695"/>
                <a:gd name="connsiteX2" fmla="*/ 56220 w 600037"/>
                <a:gd name="connsiteY2" fmla="*/ 4782791 h 5080695"/>
                <a:gd name="connsiteX3" fmla="*/ 60982 w 600037"/>
                <a:gd name="connsiteY3" fmla="*/ 373509 h 5080695"/>
                <a:gd name="connsiteX4" fmla="*/ 422114 w 600037"/>
                <a:gd name="connsiteY4" fmla="*/ 328167 h 5080695"/>
                <a:gd name="connsiteX5" fmla="*/ 62074 w 600037"/>
                <a:gd name="connsiteY5" fmla="*/ 184151 h 5080695"/>
                <a:gd name="connsiteX6" fmla="*/ 62073 w 600037"/>
                <a:gd name="connsiteY6" fmla="*/ 109761 h 5080695"/>
                <a:gd name="connsiteX7" fmla="*/ 600037 w 600037"/>
                <a:gd name="connsiteY7" fmla="*/ 109761 h 5080695"/>
                <a:gd name="connsiteX8" fmla="*/ 600037 w 600037"/>
                <a:gd name="connsiteY8" fmla="*/ 5078090 h 5080695"/>
                <a:gd name="connsiteX9" fmla="*/ 62073 w 600037"/>
                <a:gd name="connsiteY9" fmla="*/ 5078090 h 5080695"/>
                <a:gd name="connsiteX0" fmla="*/ 62073 w 600037"/>
                <a:gd name="connsiteY0" fmla="*/ 5080695 h 5080695"/>
                <a:gd name="connsiteX1" fmla="*/ 51458 w 600037"/>
                <a:gd name="connsiteY1" fmla="*/ 5020916 h 5080695"/>
                <a:gd name="connsiteX2" fmla="*/ 51458 w 600037"/>
                <a:gd name="connsiteY2" fmla="*/ 4901854 h 5080695"/>
                <a:gd name="connsiteX3" fmla="*/ 56220 w 600037"/>
                <a:gd name="connsiteY3" fmla="*/ 4782791 h 5080695"/>
                <a:gd name="connsiteX4" fmla="*/ 60982 w 600037"/>
                <a:gd name="connsiteY4" fmla="*/ 373509 h 5080695"/>
                <a:gd name="connsiteX5" fmla="*/ 422114 w 600037"/>
                <a:gd name="connsiteY5" fmla="*/ 328167 h 5080695"/>
                <a:gd name="connsiteX6" fmla="*/ 62074 w 600037"/>
                <a:gd name="connsiteY6" fmla="*/ 184151 h 5080695"/>
                <a:gd name="connsiteX7" fmla="*/ 62073 w 600037"/>
                <a:gd name="connsiteY7" fmla="*/ 109761 h 5080695"/>
                <a:gd name="connsiteX8" fmla="*/ 600037 w 600037"/>
                <a:gd name="connsiteY8" fmla="*/ 109761 h 5080695"/>
                <a:gd name="connsiteX9" fmla="*/ 600037 w 600037"/>
                <a:gd name="connsiteY9" fmla="*/ 5078090 h 5080695"/>
                <a:gd name="connsiteX10" fmla="*/ 62073 w 600037"/>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334745"/>
                <a:gd name="connsiteX1" fmla="*/ 421432 w 970011"/>
                <a:gd name="connsiteY1" fmla="*/ 5020916 h 5334745"/>
                <a:gd name="connsiteX2" fmla="*/ 0 w 970011"/>
                <a:gd name="connsiteY2" fmla="*/ 4936679 h 5334745"/>
                <a:gd name="connsiteX3" fmla="*/ 426194 w 970011"/>
                <a:gd name="connsiteY3" fmla="*/ 4782791 h 5334745"/>
                <a:gd name="connsiteX4" fmla="*/ 430956 w 970011"/>
                <a:gd name="connsiteY4" fmla="*/ 373509 h 5334745"/>
                <a:gd name="connsiteX5" fmla="*/ 792088 w 970011"/>
                <a:gd name="connsiteY5" fmla="*/ 328167 h 5334745"/>
                <a:gd name="connsiteX6" fmla="*/ 432048 w 970011"/>
                <a:gd name="connsiteY6" fmla="*/ 184151 h 5334745"/>
                <a:gd name="connsiteX7" fmla="*/ 432047 w 970011"/>
                <a:gd name="connsiteY7" fmla="*/ 109761 h 5334745"/>
                <a:gd name="connsiteX8" fmla="*/ 970011 w 970011"/>
                <a:gd name="connsiteY8" fmla="*/ 109761 h 5334745"/>
                <a:gd name="connsiteX9" fmla="*/ 970011 w 970011"/>
                <a:gd name="connsiteY9" fmla="*/ 5078090 h 5334745"/>
                <a:gd name="connsiteX10" fmla="*/ 432047 w 970011"/>
                <a:gd name="connsiteY10" fmla="*/ 5078090 h 5334745"/>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191722"/>
                <a:gd name="connsiteX1" fmla="*/ 421432 w 970011"/>
                <a:gd name="connsiteY1" fmla="*/ 5020916 h 5191722"/>
                <a:gd name="connsiteX2" fmla="*/ 0 w 970011"/>
                <a:gd name="connsiteY2" fmla="*/ 4864671 h 5191722"/>
                <a:gd name="connsiteX3" fmla="*/ 426194 w 970011"/>
                <a:gd name="connsiteY3" fmla="*/ 4782791 h 5191722"/>
                <a:gd name="connsiteX4" fmla="*/ 430956 w 970011"/>
                <a:gd name="connsiteY4" fmla="*/ 373509 h 5191722"/>
                <a:gd name="connsiteX5" fmla="*/ 792088 w 970011"/>
                <a:gd name="connsiteY5" fmla="*/ 328167 h 5191722"/>
                <a:gd name="connsiteX6" fmla="*/ 432048 w 970011"/>
                <a:gd name="connsiteY6" fmla="*/ 184151 h 5191722"/>
                <a:gd name="connsiteX7" fmla="*/ 432047 w 970011"/>
                <a:gd name="connsiteY7" fmla="*/ 109761 h 5191722"/>
                <a:gd name="connsiteX8" fmla="*/ 970011 w 970011"/>
                <a:gd name="connsiteY8" fmla="*/ 109761 h 5191722"/>
                <a:gd name="connsiteX9" fmla="*/ 970011 w 970011"/>
                <a:gd name="connsiteY9" fmla="*/ 5078090 h 5191722"/>
                <a:gd name="connsiteX10" fmla="*/ 432047 w 970011"/>
                <a:gd name="connsiteY10" fmla="*/ 5078090 h 5191722"/>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16527"/>
                <a:gd name="connsiteX1" fmla="*/ 421432 w 970011"/>
                <a:gd name="connsiteY1" fmla="*/ 5020916 h 5216527"/>
                <a:gd name="connsiteX2" fmla="*/ 0 w 970011"/>
                <a:gd name="connsiteY2" fmla="*/ 4936679 h 5216527"/>
                <a:gd name="connsiteX3" fmla="*/ 426194 w 970011"/>
                <a:gd name="connsiteY3" fmla="*/ 4782791 h 5216527"/>
                <a:gd name="connsiteX4" fmla="*/ 430956 w 970011"/>
                <a:gd name="connsiteY4" fmla="*/ 373509 h 5216527"/>
                <a:gd name="connsiteX5" fmla="*/ 792088 w 970011"/>
                <a:gd name="connsiteY5" fmla="*/ 328167 h 5216527"/>
                <a:gd name="connsiteX6" fmla="*/ 432048 w 970011"/>
                <a:gd name="connsiteY6" fmla="*/ 184151 h 5216527"/>
                <a:gd name="connsiteX7" fmla="*/ 432047 w 970011"/>
                <a:gd name="connsiteY7" fmla="*/ 109761 h 5216527"/>
                <a:gd name="connsiteX8" fmla="*/ 970011 w 970011"/>
                <a:gd name="connsiteY8" fmla="*/ 109761 h 5216527"/>
                <a:gd name="connsiteX9" fmla="*/ 970011 w 970011"/>
                <a:gd name="connsiteY9" fmla="*/ 5078090 h 5216527"/>
                <a:gd name="connsiteX10" fmla="*/ 432047 w 970011"/>
                <a:gd name="connsiteY10" fmla="*/ 5078090 h 5216527"/>
                <a:gd name="connsiteX0" fmla="*/ 360039 w 898003"/>
                <a:gd name="connsiteY0" fmla="*/ 5080695 h 5216528"/>
                <a:gd name="connsiteX1" fmla="*/ 349424 w 898003"/>
                <a:gd name="connsiteY1" fmla="*/ 5020916 h 5216528"/>
                <a:gd name="connsiteX2" fmla="*/ 0 w 898003"/>
                <a:gd name="connsiteY2" fmla="*/ 4936680 h 5216528"/>
                <a:gd name="connsiteX3" fmla="*/ 354186 w 898003"/>
                <a:gd name="connsiteY3" fmla="*/ 4782791 h 5216528"/>
                <a:gd name="connsiteX4" fmla="*/ 358948 w 898003"/>
                <a:gd name="connsiteY4" fmla="*/ 373509 h 5216528"/>
                <a:gd name="connsiteX5" fmla="*/ 720080 w 898003"/>
                <a:gd name="connsiteY5" fmla="*/ 328167 h 5216528"/>
                <a:gd name="connsiteX6" fmla="*/ 360040 w 898003"/>
                <a:gd name="connsiteY6" fmla="*/ 184151 h 5216528"/>
                <a:gd name="connsiteX7" fmla="*/ 360039 w 898003"/>
                <a:gd name="connsiteY7" fmla="*/ 109761 h 5216528"/>
                <a:gd name="connsiteX8" fmla="*/ 898003 w 898003"/>
                <a:gd name="connsiteY8" fmla="*/ 109761 h 5216528"/>
                <a:gd name="connsiteX9" fmla="*/ 898003 w 898003"/>
                <a:gd name="connsiteY9" fmla="*/ 5078090 h 5216528"/>
                <a:gd name="connsiteX10" fmla="*/ 360039 w 898003"/>
                <a:gd name="connsiteY10" fmla="*/ 5078090 h 521652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93568 w 931532"/>
                <a:gd name="connsiteY0" fmla="*/ 5080695 h 5186088"/>
                <a:gd name="connsiteX1" fmla="*/ 382953 w 931532"/>
                <a:gd name="connsiteY1" fmla="*/ 5020916 h 5186088"/>
                <a:gd name="connsiteX2" fmla="*/ 33529 w 931532"/>
                <a:gd name="connsiteY2" fmla="*/ 4936680 h 5186088"/>
                <a:gd name="connsiteX3" fmla="*/ 387715 w 931532"/>
                <a:gd name="connsiteY3" fmla="*/ 4782791 h 5186088"/>
                <a:gd name="connsiteX4" fmla="*/ 392477 w 931532"/>
                <a:gd name="connsiteY4" fmla="*/ 373509 h 5186088"/>
                <a:gd name="connsiteX5" fmla="*/ 753609 w 931532"/>
                <a:gd name="connsiteY5" fmla="*/ 328167 h 5186088"/>
                <a:gd name="connsiteX6" fmla="*/ 393569 w 931532"/>
                <a:gd name="connsiteY6" fmla="*/ 184151 h 5186088"/>
                <a:gd name="connsiteX7" fmla="*/ 393568 w 931532"/>
                <a:gd name="connsiteY7" fmla="*/ 109761 h 5186088"/>
                <a:gd name="connsiteX8" fmla="*/ 931532 w 931532"/>
                <a:gd name="connsiteY8" fmla="*/ 109761 h 5186088"/>
                <a:gd name="connsiteX9" fmla="*/ 931532 w 931532"/>
                <a:gd name="connsiteY9" fmla="*/ 5078090 h 5186088"/>
                <a:gd name="connsiteX10" fmla="*/ 393568 w 931532"/>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7"/>
                <a:gd name="connsiteX1" fmla="*/ 349424 w 898003"/>
                <a:gd name="connsiteY1" fmla="*/ 5020916 h 5186087"/>
                <a:gd name="connsiteX2" fmla="*/ 0 w 898003"/>
                <a:gd name="connsiteY2" fmla="*/ 4936679 h 5186087"/>
                <a:gd name="connsiteX3" fmla="*/ 354186 w 898003"/>
                <a:gd name="connsiteY3" fmla="*/ 4782791 h 5186087"/>
                <a:gd name="connsiteX4" fmla="*/ 358948 w 898003"/>
                <a:gd name="connsiteY4" fmla="*/ 373509 h 5186087"/>
                <a:gd name="connsiteX5" fmla="*/ 720080 w 898003"/>
                <a:gd name="connsiteY5" fmla="*/ 328167 h 5186087"/>
                <a:gd name="connsiteX6" fmla="*/ 360040 w 898003"/>
                <a:gd name="connsiteY6" fmla="*/ 184151 h 5186087"/>
                <a:gd name="connsiteX7" fmla="*/ 360039 w 898003"/>
                <a:gd name="connsiteY7" fmla="*/ 109761 h 5186087"/>
                <a:gd name="connsiteX8" fmla="*/ 898003 w 898003"/>
                <a:gd name="connsiteY8" fmla="*/ 109761 h 5186087"/>
                <a:gd name="connsiteX9" fmla="*/ 898003 w 898003"/>
                <a:gd name="connsiteY9" fmla="*/ 5078090 h 5186087"/>
                <a:gd name="connsiteX10" fmla="*/ 360039 w 898003"/>
                <a:gd name="connsiteY10" fmla="*/ 5078090 h 5186087"/>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9155"/>
                <a:gd name="connsiteX1" fmla="*/ 393701 w 942280"/>
                <a:gd name="connsiteY1" fmla="*/ 5020916 h 5189155"/>
                <a:gd name="connsiteX2" fmla="*/ 0 w 942280"/>
                <a:gd name="connsiteY2" fmla="*/ 4936680 h 5189155"/>
                <a:gd name="connsiteX3" fmla="*/ 398463 w 942280"/>
                <a:gd name="connsiteY3" fmla="*/ 4782791 h 5189155"/>
                <a:gd name="connsiteX4" fmla="*/ 403225 w 942280"/>
                <a:gd name="connsiteY4" fmla="*/ 373509 h 5189155"/>
                <a:gd name="connsiteX5" fmla="*/ 764357 w 942280"/>
                <a:gd name="connsiteY5" fmla="*/ 328167 h 5189155"/>
                <a:gd name="connsiteX6" fmla="*/ 404317 w 942280"/>
                <a:gd name="connsiteY6" fmla="*/ 184151 h 5189155"/>
                <a:gd name="connsiteX7" fmla="*/ 404316 w 942280"/>
                <a:gd name="connsiteY7" fmla="*/ 109761 h 5189155"/>
                <a:gd name="connsiteX8" fmla="*/ 942280 w 942280"/>
                <a:gd name="connsiteY8" fmla="*/ 109761 h 5189155"/>
                <a:gd name="connsiteX9" fmla="*/ 942280 w 942280"/>
                <a:gd name="connsiteY9" fmla="*/ 5078090 h 5189155"/>
                <a:gd name="connsiteX10" fmla="*/ 404316 w 942280"/>
                <a:gd name="connsiteY10" fmla="*/ 5078090 h 5189155"/>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98103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70118"/>
                <a:gd name="connsiteY0" fmla="*/ 5044365 h 5152824"/>
                <a:gd name="connsiteX1" fmla="*/ 505964 w 1070118"/>
                <a:gd name="connsiteY1" fmla="*/ 4984586 h 5152824"/>
                <a:gd name="connsiteX2" fmla="*/ 0 w 1070118"/>
                <a:gd name="connsiteY2" fmla="*/ 4900349 h 5152824"/>
                <a:gd name="connsiteX3" fmla="*/ 510726 w 1070118"/>
                <a:gd name="connsiteY3" fmla="*/ 4746461 h 5152824"/>
                <a:gd name="connsiteX4" fmla="*/ 515488 w 1070118"/>
                <a:gd name="connsiteY4" fmla="*/ 337179 h 5152824"/>
                <a:gd name="connsiteX5" fmla="*/ 898103 w 1070118"/>
                <a:gd name="connsiteY5" fmla="*/ 291837 h 5152824"/>
                <a:gd name="connsiteX6" fmla="*/ 516580 w 1070118"/>
                <a:gd name="connsiteY6" fmla="*/ 147821 h 5152824"/>
                <a:gd name="connsiteX7" fmla="*/ 516579 w 1070118"/>
                <a:gd name="connsiteY7" fmla="*/ 73431 h 5152824"/>
                <a:gd name="connsiteX8" fmla="*/ 1054543 w 1070118"/>
                <a:gd name="connsiteY8" fmla="*/ 73431 h 5152824"/>
                <a:gd name="connsiteX9" fmla="*/ 1054543 w 1070118"/>
                <a:gd name="connsiteY9" fmla="*/ 5041760 h 5152824"/>
                <a:gd name="connsiteX10" fmla="*/ 516579 w 1070118"/>
                <a:gd name="connsiteY10" fmla="*/ 5041760 h 5152824"/>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4543" h="5162642">
                  <a:moveTo>
                    <a:pt x="516579" y="5054183"/>
                  </a:moveTo>
                  <a:lnTo>
                    <a:pt x="505964" y="4994404"/>
                  </a:lnTo>
                  <a:cubicBezTo>
                    <a:pt x="365487" y="4966325"/>
                    <a:pt x="182597" y="5162642"/>
                    <a:pt x="0" y="4910167"/>
                  </a:cubicBezTo>
                  <a:cubicBezTo>
                    <a:pt x="101858" y="4578169"/>
                    <a:pt x="368661" y="4807575"/>
                    <a:pt x="510726" y="4756279"/>
                  </a:cubicBezTo>
                  <a:cubicBezTo>
                    <a:pt x="510544" y="3971748"/>
                    <a:pt x="454506" y="1089434"/>
                    <a:pt x="515488" y="346997"/>
                  </a:cubicBezTo>
                  <a:cubicBezTo>
                    <a:pt x="645783" y="336296"/>
                    <a:pt x="811401" y="489209"/>
                    <a:pt x="898103" y="301655"/>
                  </a:cubicBezTo>
                  <a:cubicBezTo>
                    <a:pt x="910891" y="0"/>
                    <a:pt x="637075" y="181302"/>
                    <a:pt x="516580" y="157639"/>
                  </a:cubicBezTo>
                  <a:cubicBezTo>
                    <a:pt x="516943" y="142748"/>
                    <a:pt x="516216" y="98140"/>
                    <a:pt x="516579" y="83249"/>
                  </a:cubicBezTo>
                  <a:lnTo>
                    <a:pt x="1054543" y="83249"/>
                  </a:lnTo>
                  <a:lnTo>
                    <a:pt x="1054543" y="5051578"/>
                  </a:lnTo>
                  <a:lnTo>
                    <a:pt x="516579" y="5051578"/>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t"/>
            <a:lstStyle/>
            <a:p>
              <a:pPr algn="ctr"/>
              <a:r>
                <a:rPr lang="en-US" sz="900" b="1" dirty="0" smtClean="0"/>
                <a:t>Market and competitive analysis</a:t>
              </a:r>
              <a:r>
                <a:rPr lang="en-US" sz="900" b="1" baseline="30000" dirty="0" smtClean="0"/>
                <a:t>(a)</a:t>
              </a:r>
              <a:endParaRPr lang="en-US" sz="900" b="1" baseline="30000" dirty="0"/>
            </a:p>
          </p:txBody>
        </p:sp>
        <p:sp>
          <p:nvSpPr>
            <p:cNvPr id="130" name="Textfeld 16"/>
            <p:cNvSpPr txBox="1"/>
            <p:nvPr/>
          </p:nvSpPr>
          <p:spPr>
            <a:xfrm>
              <a:off x="6825208" y="3068960"/>
              <a:ext cx="1152128" cy="369332"/>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Scale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effects</a:t>
              </a:r>
              <a:endParaRPr lang="en-US" sz="900" dirty="0">
                <a:solidFill>
                  <a:schemeClr val="bg1"/>
                </a:solidFill>
                <a:latin typeface="Arial" pitchFamily="34" charset="0"/>
                <a:cs typeface="Arial" pitchFamily="34" charset="0"/>
              </a:endParaRPr>
            </a:p>
          </p:txBody>
        </p:sp>
        <p:sp>
          <p:nvSpPr>
            <p:cNvPr id="131" name="Textfeld 16"/>
            <p:cNvSpPr txBox="1"/>
            <p:nvPr/>
          </p:nvSpPr>
          <p:spPr>
            <a:xfrm>
              <a:off x="6878166" y="4116730"/>
              <a:ext cx="1152128" cy="507831"/>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st savings potential &amp; synergies</a:t>
              </a:r>
              <a:r>
                <a:rPr lang="en-US" sz="900" baseline="30000" dirty="0" smtClean="0">
                  <a:solidFill>
                    <a:schemeClr val="bg1"/>
                  </a:solidFill>
                  <a:latin typeface="Arial" pitchFamily="34" charset="0"/>
                  <a:cs typeface="Arial" pitchFamily="34" charset="0"/>
                </a:rPr>
                <a:t>(f)</a:t>
              </a:r>
              <a:endParaRPr lang="en-US" sz="900" baseline="30000" dirty="0">
                <a:solidFill>
                  <a:schemeClr val="bg1"/>
                </a:solidFill>
                <a:latin typeface="Arial" pitchFamily="34" charset="0"/>
                <a:cs typeface="Arial" pitchFamily="34" charset="0"/>
              </a:endParaRPr>
            </a:p>
          </p:txBody>
        </p:sp>
        <p:sp>
          <p:nvSpPr>
            <p:cNvPr id="132" name="Textfeld 16"/>
            <p:cNvSpPr txBox="1"/>
            <p:nvPr/>
          </p:nvSpPr>
          <p:spPr>
            <a:xfrm>
              <a:off x="4302691" y="2758068"/>
              <a:ext cx="1170327" cy="369332"/>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Investments and </a:t>
              </a:r>
            </a:p>
            <a:p>
              <a:pPr algn="ctr"/>
              <a:r>
                <a:rPr lang="en-US" sz="900" dirty="0" smtClean="0">
                  <a:solidFill>
                    <a:schemeClr val="bg1"/>
                  </a:solidFill>
                  <a:latin typeface="Arial" pitchFamily="34" charset="0"/>
                  <a:cs typeface="Arial" pitchFamily="34" charset="0"/>
                </a:rPr>
                <a:t>Depreciation</a:t>
              </a:r>
              <a:r>
                <a:rPr lang="en-US" sz="900" baseline="30000" dirty="0" smtClean="0">
                  <a:solidFill>
                    <a:schemeClr val="bg1"/>
                  </a:solidFill>
                  <a:latin typeface="Arial" pitchFamily="34" charset="0"/>
                  <a:cs typeface="Arial" pitchFamily="34" charset="0"/>
                </a:rPr>
                <a:t>(d)</a:t>
              </a:r>
              <a:endParaRPr lang="en-US" sz="900" baseline="30000" dirty="0">
                <a:solidFill>
                  <a:schemeClr val="bg1"/>
                </a:solidFill>
                <a:latin typeface="Arial" pitchFamily="34" charset="0"/>
                <a:cs typeface="Arial" pitchFamily="34" charset="0"/>
              </a:endParaRPr>
            </a:p>
          </p:txBody>
        </p:sp>
        <p:sp>
          <p:nvSpPr>
            <p:cNvPr id="133" name="Textfeld 27"/>
            <p:cNvSpPr txBox="1"/>
            <p:nvPr/>
          </p:nvSpPr>
          <p:spPr>
            <a:xfrm>
              <a:off x="706917" y="3933056"/>
              <a:ext cx="1725803"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rPr>
                <a:t>Normal-</a:t>
              </a:r>
              <a:br>
                <a:rPr lang="en-US" sz="900" dirty="0" smtClean="0">
                  <a:solidFill>
                    <a:schemeClr val="bg1"/>
                  </a:solidFill>
                </a:rPr>
              </a:br>
              <a:r>
                <a:rPr lang="en-US" sz="900" dirty="0" err="1" smtClean="0">
                  <a:solidFill>
                    <a:schemeClr val="bg1"/>
                  </a:solidFill>
                </a:rPr>
                <a:t>ization</a:t>
              </a:r>
              <a:r>
                <a:rPr lang="en-US" sz="900" baseline="30000" dirty="0" smtClean="0">
                  <a:solidFill>
                    <a:schemeClr val="bg1"/>
                  </a:solidFill>
                </a:rPr>
                <a:t>(e)</a:t>
              </a:r>
              <a:endParaRPr lang="en-US" sz="900" baseline="30000" dirty="0">
                <a:solidFill>
                  <a:schemeClr val="bg1"/>
                </a:solidFill>
              </a:endParaRPr>
            </a:p>
          </p:txBody>
        </p:sp>
      </p:grpSp>
      <p:sp>
        <p:nvSpPr>
          <p:cNvPr id="134" name="Rechteck 133"/>
          <p:cNvSpPr/>
          <p:nvPr/>
        </p:nvSpPr>
        <p:spPr>
          <a:xfrm>
            <a:off x="8331485" y="5741846"/>
            <a:ext cx="1080516" cy="2590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dirty="0" smtClean="0">
                <a:solidFill>
                  <a:schemeClr val="bg1"/>
                </a:solidFill>
              </a:rPr>
              <a:t>Scope of the workbooks </a:t>
            </a:r>
            <a:endParaRPr lang="en-US" sz="900" dirty="0">
              <a:solidFill>
                <a:schemeClr val="bg1"/>
              </a:solidFill>
            </a:endParaRPr>
          </a:p>
        </p:txBody>
      </p:sp>
    </p:spTree>
    <p:extLst>
      <p:ext uri="{BB962C8B-B14F-4D97-AF65-F5344CB8AC3E}">
        <p14:creationId xmlns:p14="http://schemas.microsoft.com/office/powerpoint/2010/main" val="6221346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Sales and Gross Profit (Planning) </a:t>
            </a:r>
          </a:p>
        </p:txBody>
      </p:sp>
      <p:sp>
        <p:nvSpPr>
          <p:cNvPr id="4" name="Titel 3"/>
          <p:cNvSpPr>
            <a:spLocks noGrp="1"/>
          </p:cNvSpPr>
          <p:nvPr>
            <p:ph type="title"/>
          </p:nvPr>
        </p:nvSpPr>
        <p:spPr/>
        <p:txBody>
          <a:bodyPr/>
          <a:lstStyle/>
          <a:p>
            <a:r>
              <a:rPr lang="en-US" dirty="0"/>
              <a:t>Overview </a:t>
            </a:r>
            <a:r>
              <a:rPr lang="en-US" dirty="0" smtClean="0"/>
              <a:t>(3/7) </a:t>
            </a:r>
            <a:r>
              <a:rPr lang="en-US" dirty="0"/>
              <a:t>– </a:t>
            </a:r>
            <a:r>
              <a:rPr lang="en-US" dirty="0" smtClean="0"/>
              <a:t>Analysis tree</a:t>
            </a:r>
            <a:endParaRPr lang="en-US" dirty="0"/>
          </a:p>
        </p:txBody>
      </p:sp>
      <p:sp>
        <p:nvSpPr>
          <p:cNvPr id="110" name="Rechteck 75"/>
          <p:cNvSpPr/>
          <p:nvPr/>
        </p:nvSpPr>
        <p:spPr>
          <a:xfrm>
            <a:off x="488950" y="1431836"/>
            <a:ext cx="8928099" cy="28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Analysis of sales growth and gross profit margins development</a:t>
            </a:r>
            <a:endParaRPr lang="en-US" sz="900" b="1" dirty="0"/>
          </a:p>
        </p:txBody>
      </p:sp>
      <p:cxnSp>
        <p:nvCxnSpPr>
          <p:cNvPr id="79" name="Gerade Verbindung mit Pfeil 78"/>
          <p:cNvCxnSpPr>
            <a:stCxn id="134" idx="3"/>
            <a:endCxn id="135" idx="1"/>
          </p:cNvCxnSpPr>
          <p:nvPr/>
        </p:nvCxnSpPr>
        <p:spPr>
          <a:xfrm>
            <a:off x="5688932" y="5856366"/>
            <a:ext cx="366176" cy="0"/>
          </a:xfrm>
          <a:prstGeom prst="straightConnector1">
            <a:avLst/>
          </a:prstGeom>
          <a:ln w="9525">
            <a:solidFill>
              <a:srgbClr val="BABBBC"/>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6" name="Rectangle 13"/>
          <p:cNvSpPr/>
          <p:nvPr/>
        </p:nvSpPr>
        <p:spPr>
          <a:xfrm>
            <a:off x="2864690" y="4533162"/>
            <a:ext cx="2012313" cy="3371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t>Market growth</a:t>
            </a:r>
            <a:endParaRPr lang="en-US" sz="1000" b="1" dirty="0"/>
          </a:p>
        </p:txBody>
      </p:sp>
      <p:sp>
        <p:nvSpPr>
          <p:cNvPr id="92" name="Rechteck 91"/>
          <p:cNvSpPr/>
          <p:nvPr/>
        </p:nvSpPr>
        <p:spPr>
          <a:xfrm>
            <a:off x="5778532" y="1809750"/>
            <a:ext cx="3584543" cy="236067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16"/>
          <p:cNvSpPr/>
          <p:nvPr/>
        </p:nvSpPr>
        <p:spPr>
          <a:xfrm>
            <a:off x="5956562" y="3380991"/>
            <a:ext cx="1390325" cy="2766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1"/>
                </a:solidFill>
              </a:rPr>
              <a:t>Share of sales Product C</a:t>
            </a:r>
            <a:endParaRPr lang="en-US" sz="800" dirty="0">
              <a:solidFill>
                <a:schemeClr val="accent1"/>
              </a:solidFill>
            </a:endParaRPr>
          </a:p>
        </p:txBody>
      </p:sp>
      <p:sp>
        <p:nvSpPr>
          <p:cNvPr id="94" name="Rectangle 16"/>
          <p:cNvSpPr/>
          <p:nvPr/>
        </p:nvSpPr>
        <p:spPr>
          <a:xfrm>
            <a:off x="5956562" y="3043807"/>
            <a:ext cx="1390325" cy="27616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1"/>
                </a:solidFill>
              </a:rPr>
              <a:t>Share of sales Segment B</a:t>
            </a:r>
            <a:endParaRPr lang="en-US" sz="800" dirty="0">
              <a:solidFill>
                <a:schemeClr val="accent1"/>
              </a:solidFill>
            </a:endParaRPr>
          </a:p>
        </p:txBody>
      </p:sp>
      <p:sp>
        <p:nvSpPr>
          <p:cNvPr id="96" name="Rectangle 16"/>
          <p:cNvSpPr/>
          <p:nvPr/>
        </p:nvSpPr>
        <p:spPr>
          <a:xfrm>
            <a:off x="5956562" y="2706622"/>
            <a:ext cx="1390325" cy="27615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1"/>
                </a:solidFill>
              </a:rPr>
              <a:t>Share of sales Region A</a:t>
            </a:r>
            <a:endParaRPr lang="en-US" sz="800" dirty="0">
              <a:solidFill>
                <a:schemeClr val="accent1"/>
              </a:solidFill>
            </a:endParaRPr>
          </a:p>
        </p:txBody>
      </p:sp>
      <p:sp>
        <p:nvSpPr>
          <p:cNvPr id="97" name="Rechteck 96"/>
          <p:cNvSpPr/>
          <p:nvPr/>
        </p:nvSpPr>
        <p:spPr>
          <a:xfrm>
            <a:off x="5919974" y="2155143"/>
            <a:ext cx="1463500" cy="413762"/>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accent1"/>
                </a:solidFill>
              </a:rPr>
              <a:t>Share of sales</a:t>
            </a:r>
          </a:p>
        </p:txBody>
      </p:sp>
      <p:sp>
        <p:nvSpPr>
          <p:cNvPr id="98" name="Pfeil nach unten 97"/>
          <p:cNvSpPr>
            <a:spLocks/>
          </p:cNvSpPr>
          <p:nvPr/>
        </p:nvSpPr>
        <p:spPr>
          <a:xfrm>
            <a:off x="7203141" y="4257931"/>
            <a:ext cx="878198" cy="228344"/>
          </a:xfrm>
          <a:prstGeom prst="down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Rechteck 115"/>
          <p:cNvSpPr/>
          <p:nvPr/>
        </p:nvSpPr>
        <p:spPr>
          <a:xfrm>
            <a:off x="2041267" y="1810123"/>
            <a:ext cx="3659158" cy="2360673"/>
          </a:xfrm>
          <a:prstGeom prst="rect">
            <a:avLst/>
          </a:prstGeom>
          <a:solidFill>
            <a:srgbClr val="D9D9D9"/>
          </a:solidFill>
          <a:ln>
            <a:solidFill>
              <a:srgbClr val="F3E9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7" name="Rectangle 16"/>
          <p:cNvSpPr/>
          <p:nvPr/>
        </p:nvSpPr>
        <p:spPr>
          <a:xfrm>
            <a:off x="730856" y="3356814"/>
            <a:ext cx="1019072" cy="276160"/>
          </a:xfrm>
          <a:prstGeom prst="rect">
            <a:avLst/>
          </a:prstGeom>
          <a:solidFill>
            <a:schemeClr val="bg1"/>
          </a:solidFill>
          <a:ln>
            <a:solidFill>
              <a:srgbClr val="747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747678"/>
                </a:solidFill>
              </a:rPr>
              <a:t>Product C</a:t>
            </a:r>
            <a:endParaRPr lang="en-US" sz="800" dirty="0">
              <a:solidFill>
                <a:srgbClr val="747678"/>
              </a:solidFill>
            </a:endParaRPr>
          </a:p>
        </p:txBody>
      </p:sp>
      <p:sp>
        <p:nvSpPr>
          <p:cNvPr id="118" name="Rectangle 16"/>
          <p:cNvSpPr/>
          <p:nvPr/>
        </p:nvSpPr>
        <p:spPr>
          <a:xfrm>
            <a:off x="730857" y="3036271"/>
            <a:ext cx="1019071" cy="276160"/>
          </a:xfrm>
          <a:prstGeom prst="rect">
            <a:avLst/>
          </a:prstGeom>
          <a:solidFill>
            <a:schemeClr val="bg1"/>
          </a:solidFill>
          <a:ln>
            <a:solidFill>
              <a:srgbClr val="747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747678"/>
                </a:solidFill>
              </a:rPr>
              <a:t>Segment B</a:t>
            </a:r>
            <a:endParaRPr lang="en-US" sz="800" dirty="0">
              <a:solidFill>
                <a:srgbClr val="747678"/>
              </a:solidFill>
            </a:endParaRPr>
          </a:p>
        </p:txBody>
      </p:sp>
      <p:sp>
        <p:nvSpPr>
          <p:cNvPr id="119" name="Rectangle 16"/>
          <p:cNvSpPr/>
          <p:nvPr/>
        </p:nvSpPr>
        <p:spPr>
          <a:xfrm>
            <a:off x="730857" y="2715175"/>
            <a:ext cx="1019071" cy="276160"/>
          </a:xfrm>
          <a:prstGeom prst="rect">
            <a:avLst/>
          </a:prstGeom>
          <a:solidFill>
            <a:schemeClr val="bg1"/>
          </a:solidFill>
          <a:ln>
            <a:solidFill>
              <a:srgbClr val="747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747678"/>
                </a:solidFill>
              </a:rPr>
              <a:t>Region A</a:t>
            </a:r>
            <a:endParaRPr lang="en-US" sz="800" dirty="0">
              <a:solidFill>
                <a:srgbClr val="747678"/>
              </a:solidFill>
            </a:endParaRPr>
          </a:p>
        </p:txBody>
      </p:sp>
      <p:sp>
        <p:nvSpPr>
          <p:cNvPr id="120" name="Rectangle 16"/>
          <p:cNvSpPr/>
          <p:nvPr/>
        </p:nvSpPr>
        <p:spPr>
          <a:xfrm>
            <a:off x="4326608" y="3354765"/>
            <a:ext cx="1023877" cy="276160"/>
          </a:xfrm>
          <a:prstGeom prst="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3"/>
                </a:solidFill>
              </a:rPr>
              <a:t>Market growth Product C</a:t>
            </a:r>
          </a:p>
        </p:txBody>
      </p:sp>
      <p:sp>
        <p:nvSpPr>
          <p:cNvPr id="121" name="Rectangle 16"/>
          <p:cNvSpPr/>
          <p:nvPr/>
        </p:nvSpPr>
        <p:spPr>
          <a:xfrm>
            <a:off x="4326609" y="3030172"/>
            <a:ext cx="1023876" cy="276160"/>
          </a:xfrm>
          <a:prstGeom prst="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3"/>
                </a:solidFill>
              </a:rPr>
              <a:t>Market growth Segment B</a:t>
            </a:r>
          </a:p>
        </p:txBody>
      </p:sp>
      <p:sp>
        <p:nvSpPr>
          <p:cNvPr id="122" name="Rectangle 16"/>
          <p:cNvSpPr/>
          <p:nvPr/>
        </p:nvSpPr>
        <p:spPr>
          <a:xfrm>
            <a:off x="4326608" y="2711992"/>
            <a:ext cx="1023877" cy="276160"/>
          </a:xfrm>
          <a:prstGeom prst="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3"/>
                </a:solidFill>
              </a:rPr>
              <a:t>Market growth Region A</a:t>
            </a:r>
          </a:p>
        </p:txBody>
      </p:sp>
      <p:sp>
        <p:nvSpPr>
          <p:cNvPr id="123" name="Oval 20"/>
          <p:cNvSpPr/>
          <p:nvPr/>
        </p:nvSpPr>
        <p:spPr>
          <a:xfrm>
            <a:off x="3859655" y="3119798"/>
            <a:ext cx="157557" cy="138095"/>
          </a:xfrm>
          <a:prstGeom prst="ellipse">
            <a:avLst/>
          </a:prstGeom>
          <a:solidFill>
            <a:srgbClr val="BABB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rgbClr val="000000"/>
                </a:solidFill>
              </a:rPr>
              <a:t>x</a:t>
            </a:r>
            <a:endParaRPr lang="en-US" sz="800" b="1" dirty="0">
              <a:solidFill>
                <a:srgbClr val="000000"/>
              </a:solidFill>
            </a:endParaRPr>
          </a:p>
        </p:txBody>
      </p:sp>
      <p:sp>
        <p:nvSpPr>
          <p:cNvPr id="124" name="Rechteck 123"/>
          <p:cNvSpPr/>
          <p:nvPr/>
        </p:nvSpPr>
        <p:spPr>
          <a:xfrm>
            <a:off x="4093840" y="2152296"/>
            <a:ext cx="1496302" cy="413762"/>
          </a:xfrm>
          <a:prstGeom prst="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accent3"/>
                </a:solidFill>
              </a:rPr>
              <a:t>Market growth </a:t>
            </a:r>
          </a:p>
          <a:p>
            <a:pPr algn="ctr"/>
            <a:r>
              <a:rPr lang="en-US" sz="900" dirty="0" smtClean="0">
                <a:solidFill>
                  <a:schemeClr val="accent3"/>
                </a:solidFill>
              </a:rPr>
              <a:t>individual regions</a:t>
            </a:r>
          </a:p>
          <a:p>
            <a:pPr algn="ctr"/>
            <a:r>
              <a:rPr lang="en-US" sz="900" dirty="0" smtClean="0">
                <a:solidFill>
                  <a:schemeClr val="accent3"/>
                </a:solidFill>
              </a:rPr>
              <a:t>segments/products</a:t>
            </a:r>
            <a:endParaRPr lang="en-US" sz="900" dirty="0">
              <a:solidFill>
                <a:schemeClr val="accent3"/>
              </a:solidFill>
            </a:endParaRPr>
          </a:p>
        </p:txBody>
      </p:sp>
      <p:sp>
        <p:nvSpPr>
          <p:cNvPr id="125" name="Rechteck 124"/>
          <p:cNvSpPr/>
          <p:nvPr/>
        </p:nvSpPr>
        <p:spPr>
          <a:xfrm>
            <a:off x="2114450" y="2155480"/>
            <a:ext cx="1463500" cy="413762"/>
          </a:xfrm>
          <a:prstGeom prst="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accent3"/>
                </a:solidFill>
              </a:rPr>
              <a:t>Market share</a:t>
            </a:r>
            <a:endParaRPr lang="en-US" sz="900" dirty="0">
              <a:solidFill>
                <a:schemeClr val="accent3"/>
              </a:solidFill>
            </a:endParaRPr>
          </a:p>
        </p:txBody>
      </p:sp>
      <p:sp>
        <p:nvSpPr>
          <p:cNvPr id="126" name="Rechteck 125"/>
          <p:cNvSpPr/>
          <p:nvPr/>
        </p:nvSpPr>
        <p:spPr>
          <a:xfrm>
            <a:off x="691579" y="2166538"/>
            <a:ext cx="1097625" cy="404578"/>
          </a:xfrm>
          <a:prstGeom prst="rect">
            <a:avLst/>
          </a:prstGeom>
          <a:solidFill>
            <a:schemeClr val="bg1"/>
          </a:solidFill>
          <a:ln>
            <a:solidFill>
              <a:srgbClr val="74767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rgbClr val="747678"/>
                </a:solidFill>
              </a:rPr>
              <a:t>Region/Segment/ Product</a:t>
            </a:r>
            <a:endParaRPr lang="en-US" sz="900" dirty="0">
              <a:solidFill>
                <a:srgbClr val="747678"/>
              </a:solidFill>
            </a:endParaRPr>
          </a:p>
        </p:txBody>
      </p:sp>
      <p:sp>
        <p:nvSpPr>
          <p:cNvPr id="127" name="Rectangle 16"/>
          <p:cNvSpPr/>
          <p:nvPr/>
        </p:nvSpPr>
        <p:spPr>
          <a:xfrm>
            <a:off x="2138354" y="3331187"/>
            <a:ext cx="1390324" cy="276160"/>
          </a:xfrm>
          <a:prstGeom prst="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3"/>
                </a:solidFill>
              </a:rPr>
              <a:t>Market share Product C</a:t>
            </a:r>
            <a:endParaRPr lang="en-US" sz="800" dirty="0">
              <a:solidFill>
                <a:schemeClr val="accent3"/>
              </a:solidFill>
            </a:endParaRPr>
          </a:p>
        </p:txBody>
      </p:sp>
      <p:sp>
        <p:nvSpPr>
          <p:cNvPr id="128" name="Rectangle 16"/>
          <p:cNvSpPr/>
          <p:nvPr/>
        </p:nvSpPr>
        <p:spPr>
          <a:xfrm>
            <a:off x="2138355" y="3008536"/>
            <a:ext cx="1390322" cy="276160"/>
          </a:xfrm>
          <a:prstGeom prst="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3"/>
                </a:solidFill>
              </a:rPr>
              <a:t>Market share Segment B</a:t>
            </a:r>
            <a:endParaRPr lang="en-US" sz="800" dirty="0">
              <a:solidFill>
                <a:schemeClr val="accent3"/>
              </a:solidFill>
            </a:endParaRPr>
          </a:p>
        </p:txBody>
      </p:sp>
      <p:sp>
        <p:nvSpPr>
          <p:cNvPr id="129" name="Rectangle 16"/>
          <p:cNvSpPr/>
          <p:nvPr/>
        </p:nvSpPr>
        <p:spPr>
          <a:xfrm>
            <a:off x="2138354" y="2688414"/>
            <a:ext cx="1390324" cy="276160"/>
          </a:xfrm>
          <a:prstGeom prst="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3"/>
                </a:solidFill>
              </a:rPr>
              <a:t>Market share Region A</a:t>
            </a:r>
            <a:endParaRPr lang="en-US" sz="800" dirty="0">
              <a:solidFill>
                <a:schemeClr val="accent3"/>
              </a:solidFill>
            </a:endParaRPr>
          </a:p>
        </p:txBody>
      </p:sp>
      <p:sp>
        <p:nvSpPr>
          <p:cNvPr id="130" name="Pfeil nach unten 129"/>
          <p:cNvSpPr>
            <a:spLocks/>
          </p:cNvSpPr>
          <p:nvPr/>
        </p:nvSpPr>
        <p:spPr>
          <a:xfrm>
            <a:off x="3431747" y="4257931"/>
            <a:ext cx="878198" cy="228344"/>
          </a:xfrm>
          <a:prstGeom prst="down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Rectangle 13"/>
          <p:cNvSpPr/>
          <p:nvPr/>
        </p:nvSpPr>
        <p:spPr>
          <a:xfrm>
            <a:off x="4865594" y="4915330"/>
            <a:ext cx="1773332" cy="33714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t>Corporate specific market growth XXX AG</a:t>
            </a:r>
            <a:endParaRPr lang="en-US" sz="1000" b="1" dirty="0"/>
          </a:p>
        </p:txBody>
      </p:sp>
      <p:sp>
        <p:nvSpPr>
          <p:cNvPr id="132" name="Rectangle 4"/>
          <p:cNvSpPr>
            <a:spLocks noChangeArrowheads="1"/>
          </p:cNvSpPr>
          <p:nvPr>
            <p:custDataLst>
              <p:tags r:id="rId1"/>
            </p:custDataLst>
          </p:nvPr>
        </p:nvSpPr>
        <p:spPr bwMode="gray">
          <a:xfrm>
            <a:off x="5249963" y="5419562"/>
            <a:ext cx="1170930" cy="134859"/>
          </a:xfrm>
          <a:prstGeom prst="rect">
            <a:avLst/>
          </a:prstGeom>
          <a:solidFill>
            <a:srgbClr val="BABBBC"/>
          </a:solidFill>
          <a:ln w="9525">
            <a:solidFill>
              <a:srgbClr val="BABBBC"/>
            </a:solidFill>
            <a:miter lim="800000"/>
            <a:headEnd/>
            <a:tailEnd/>
          </a:ln>
          <a:effectLst/>
        </p:spPr>
        <p:txBody>
          <a:bodyPr lIns="54000" tIns="54000" rIns="54000" bIns="54000" anchor="ctr" anchorCtr="1"/>
          <a:lstStyle/>
          <a:p>
            <a:pPr algn="ctr" defTabSz="762000" eaLnBrk="0" hangingPunct="0">
              <a:lnSpc>
                <a:spcPct val="90000"/>
              </a:lnSpc>
            </a:pPr>
            <a:r>
              <a:rPr lang="en-US" sz="800" dirty="0" smtClean="0"/>
              <a:t>Comparison</a:t>
            </a:r>
          </a:p>
        </p:txBody>
      </p:sp>
      <p:cxnSp>
        <p:nvCxnSpPr>
          <p:cNvPr id="133" name="Gerade Verbindung mit Pfeil 132"/>
          <p:cNvCxnSpPr>
            <a:stCxn id="164" idx="0"/>
            <a:endCxn id="162" idx="2"/>
          </p:cNvCxnSpPr>
          <p:nvPr/>
        </p:nvCxnSpPr>
        <p:spPr>
          <a:xfrm flipV="1">
            <a:off x="5464774" y="5249414"/>
            <a:ext cx="3227" cy="167582"/>
          </a:xfrm>
          <a:prstGeom prst="straightConnector1">
            <a:avLst/>
          </a:prstGeom>
          <a:ln w="9525">
            <a:solidFill>
              <a:srgbClr val="BABBB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4" name="Rectangle 13"/>
          <p:cNvSpPr/>
          <p:nvPr/>
        </p:nvSpPr>
        <p:spPr>
          <a:xfrm>
            <a:off x="4518132" y="5721506"/>
            <a:ext cx="1170800" cy="269719"/>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rgbClr val="FFFFFF"/>
                </a:solidFill>
              </a:rPr>
              <a:t>Planned growth</a:t>
            </a:r>
          </a:p>
          <a:p>
            <a:pPr algn="ctr"/>
            <a:r>
              <a:rPr lang="en-US" sz="900" b="1" dirty="0" smtClean="0">
                <a:solidFill>
                  <a:srgbClr val="FFFFFF"/>
                </a:solidFill>
              </a:rPr>
              <a:t>XXX AG</a:t>
            </a:r>
            <a:endParaRPr lang="en-US" sz="900" b="1" dirty="0">
              <a:solidFill>
                <a:srgbClr val="FFFFFF"/>
              </a:solidFill>
            </a:endParaRPr>
          </a:p>
        </p:txBody>
      </p:sp>
      <p:sp>
        <p:nvSpPr>
          <p:cNvPr id="135" name="Rechteck 134"/>
          <p:cNvSpPr/>
          <p:nvPr/>
        </p:nvSpPr>
        <p:spPr>
          <a:xfrm>
            <a:off x="6055108" y="5721506"/>
            <a:ext cx="1170800" cy="269719"/>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Expected growth of peer group</a:t>
            </a:r>
            <a:endParaRPr lang="en-US" sz="900" b="1" dirty="0"/>
          </a:p>
        </p:txBody>
      </p:sp>
      <p:grpSp>
        <p:nvGrpSpPr>
          <p:cNvPr id="136" name="Gruppieren 77"/>
          <p:cNvGrpSpPr/>
          <p:nvPr/>
        </p:nvGrpSpPr>
        <p:grpSpPr>
          <a:xfrm>
            <a:off x="6198771" y="5249416"/>
            <a:ext cx="3251" cy="463140"/>
            <a:chOff x="-314354" y="4536472"/>
            <a:chExt cx="3198" cy="494531"/>
          </a:xfrm>
        </p:grpSpPr>
        <p:cxnSp>
          <p:nvCxnSpPr>
            <p:cNvPr id="137" name="Straight Arrow Connector 55"/>
            <p:cNvCxnSpPr>
              <a:stCxn id="163" idx="2"/>
              <a:endCxn id="165" idx="0"/>
            </p:cNvCxnSpPr>
            <p:nvPr/>
          </p:nvCxnSpPr>
          <p:spPr>
            <a:xfrm>
              <a:off x="-314330" y="4787421"/>
              <a:ext cx="3174" cy="243582"/>
            </a:xfrm>
            <a:prstGeom prst="straightConnector1">
              <a:avLst/>
            </a:prstGeom>
            <a:ln w="9525">
              <a:solidFill>
                <a:srgbClr val="BABBB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Gerade Verbindung mit Pfeil 137"/>
            <p:cNvCxnSpPr>
              <a:stCxn id="163" idx="0"/>
              <a:endCxn id="161" idx="2"/>
            </p:cNvCxnSpPr>
            <p:nvPr/>
          </p:nvCxnSpPr>
          <p:spPr>
            <a:xfrm flipV="1">
              <a:off x="-314354" y="4536472"/>
              <a:ext cx="3175" cy="178942"/>
            </a:xfrm>
            <a:prstGeom prst="straightConnector1">
              <a:avLst/>
            </a:prstGeom>
            <a:ln w="9525">
              <a:solidFill>
                <a:srgbClr val="BABBB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39" name="Straight Arrow Connector 55"/>
          <p:cNvCxnSpPr>
            <a:stCxn id="164" idx="2"/>
            <a:endCxn id="166" idx="0"/>
          </p:cNvCxnSpPr>
          <p:nvPr/>
        </p:nvCxnSpPr>
        <p:spPr>
          <a:xfrm>
            <a:off x="5464774" y="5484436"/>
            <a:ext cx="3227" cy="228120"/>
          </a:xfrm>
          <a:prstGeom prst="straightConnector1">
            <a:avLst/>
          </a:prstGeom>
          <a:ln w="9525">
            <a:solidFill>
              <a:srgbClr val="BABBB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0" name="Rectangle 13"/>
          <p:cNvSpPr/>
          <p:nvPr/>
        </p:nvSpPr>
        <p:spPr>
          <a:xfrm>
            <a:off x="2133473" y="3674829"/>
            <a:ext cx="731750" cy="404578"/>
          </a:xfrm>
          <a:prstGeom prst="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accent3"/>
                </a:solidFill>
              </a:rPr>
              <a:t>Total market</a:t>
            </a:r>
            <a:endParaRPr lang="en-US" sz="1000" b="1" dirty="0">
              <a:solidFill>
                <a:schemeClr val="accent3"/>
              </a:solidFill>
            </a:endParaRPr>
          </a:p>
        </p:txBody>
      </p:sp>
      <p:sp>
        <p:nvSpPr>
          <p:cNvPr id="141" name="Rectangle 13"/>
          <p:cNvSpPr/>
          <p:nvPr/>
        </p:nvSpPr>
        <p:spPr>
          <a:xfrm>
            <a:off x="2874985" y="3674829"/>
            <a:ext cx="658501" cy="404578"/>
          </a:xfrm>
          <a:prstGeom prst="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108000" rIns="54000" bIns="54000" rtlCol="0" anchor="ctr"/>
          <a:lstStyle/>
          <a:p>
            <a:pPr algn="ctr"/>
            <a:r>
              <a:rPr lang="en-US" sz="1000" b="1" dirty="0" smtClean="0">
                <a:solidFill>
                  <a:schemeClr val="accent3"/>
                </a:solidFill>
              </a:rPr>
              <a:t>100 %</a:t>
            </a:r>
            <a:endParaRPr lang="en-US" sz="1000" b="1" dirty="0">
              <a:solidFill>
                <a:schemeClr val="accent3"/>
              </a:solidFill>
            </a:endParaRPr>
          </a:p>
        </p:txBody>
      </p:sp>
      <p:sp>
        <p:nvSpPr>
          <p:cNvPr id="142" name="Rechteck 141"/>
          <p:cNvSpPr/>
          <p:nvPr/>
        </p:nvSpPr>
        <p:spPr>
          <a:xfrm>
            <a:off x="2881607" y="3688630"/>
            <a:ext cx="648000" cy="102124"/>
          </a:xfrm>
          <a:prstGeom prst="rect">
            <a:avLst/>
          </a:prstGeom>
          <a:solidFill>
            <a:srgbClr val="BABB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72000" rtlCol="0" anchor="ctr"/>
          <a:lstStyle/>
          <a:p>
            <a:pPr algn="ctr"/>
            <a:r>
              <a:rPr lang="en-US" sz="600" b="1" dirty="0" smtClean="0">
                <a:solidFill>
                  <a:srgbClr val="000000"/>
                </a:solidFill>
              </a:rPr>
              <a:t>∑</a:t>
            </a:r>
            <a:endParaRPr lang="en-US" sz="600" b="1" dirty="0">
              <a:solidFill>
                <a:srgbClr val="000000"/>
              </a:solidFill>
            </a:endParaRPr>
          </a:p>
        </p:txBody>
      </p:sp>
      <p:sp>
        <p:nvSpPr>
          <p:cNvPr id="143" name="Rectangle 13"/>
          <p:cNvSpPr/>
          <p:nvPr/>
        </p:nvSpPr>
        <p:spPr>
          <a:xfrm>
            <a:off x="2114450" y="1877559"/>
            <a:ext cx="3475692" cy="202311"/>
          </a:xfrm>
          <a:prstGeom prst="rect">
            <a:avLst/>
          </a:prstGeom>
          <a:solidFill>
            <a:schemeClr val="accent3"/>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Total market</a:t>
            </a:r>
            <a:endParaRPr lang="en-US" sz="900" b="1" dirty="0">
              <a:solidFill>
                <a:schemeClr val="bg1"/>
              </a:solidFill>
            </a:endParaRPr>
          </a:p>
        </p:txBody>
      </p:sp>
      <p:sp>
        <p:nvSpPr>
          <p:cNvPr id="144" name="Rectangle 13"/>
          <p:cNvSpPr/>
          <p:nvPr/>
        </p:nvSpPr>
        <p:spPr>
          <a:xfrm>
            <a:off x="5919974" y="1877559"/>
            <a:ext cx="3329464" cy="2023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XXX AG</a:t>
            </a:r>
            <a:endParaRPr lang="en-US" sz="900" b="1" dirty="0">
              <a:solidFill>
                <a:schemeClr val="bg1"/>
              </a:solidFill>
            </a:endParaRPr>
          </a:p>
        </p:txBody>
      </p:sp>
      <p:sp>
        <p:nvSpPr>
          <p:cNvPr id="145" name="Rectangle 13"/>
          <p:cNvSpPr/>
          <p:nvPr/>
        </p:nvSpPr>
        <p:spPr>
          <a:xfrm>
            <a:off x="5955299" y="3698362"/>
            <a:ext cx="658501" cy="40453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108000" rIns="54000" bIns="54000" rtlCol="0" anchor="ctr"/>
          <a:lstStyle/>
          <a:p>
            <a:pPr algn="ctr"/>
            <a:r>
              <a:rPr lang="en-US" sz="1000" b="1" dirty="0" smtClean="0">
                <a:solidFill>
                  <a:schemeClr val="accent1"/>
                </a:solidFill>
              </a:rPr>
              <a:t>100 %</a:t>
            </a:r>
            <a:endParaRPr lang="en-US" sz="1000" b="1" dirty="0">
              <a:solidFill>
                <a:schemeClr val="accent1"/>
              </a:solidFill>
            </a:endParaRPr>
          </a:p>
        </p:txBody>
      </p:sp>
      <p:sp>
        <p:nvSpPr>
          <p:cNvPr id="146" name="Rechteck 145"/>
          <p:cNvSpPr/>
          <p:nvPr/>
        </p:nvSpPr>
        <p:spPr>
          <a:xfrm>
            <a:off x="5966862" y="3701940"/>
            <a:ext cx="648000" cy="10212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72000" rtlCol="0" anchor="ctr"/>
          <a:lstStyle/>
          <a:p>
            <a:pPr algn="ctr"/>
            <a:r>
              <a:rPr lang="en-US" sz="600" b="1" dirty="0" smtClean="0">
                <a:solidFill>
                  <a:srgbClr val="000000"/>
                </a:solidFill>
              </a:rPr>
              <a:t>∑</a:t>
            </a:r>
            <a:endParaRPr lang="en-US" sz="600" b="1" dirty="0">
              <a:solidFill>
                <a:srgbClr val="000000"/>
              </a:solidFill>
            </a:endParaRPr>
          </a:p>
        </p:txBody>
      </p:sp>
      <p:sp>
        <p:nvSpPr>
          <p:cNvPr id="147" name="Rectangle 13"/>
          <p:cNvSpPr/>
          <p:nvPr/>
        </p:nvSpPr>
        <p:spPr>
          <a:xfrm>
            <a:off x="6624217" y="3698362"/>
            <a:ext cx="731750" cy="40457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accent1"/>
                </a:solidFill>
              </a:rPr>
              <a:t>Total sales</a:t>
            </a:r>
            <a:endParaRPr lang="en-US" sz="1000" b="1" dirty="0">
              <a:solidFill>
                <a:schemeClr val="accent1"/>
              </a:solidFill>
            </a:endParaRPr>
          </a:p>
        </p:txBody>
      </p:sp>
      <p:sp>
        <p:nvSpPr>
          <p:cNvPr id="148" name="Rectangle 16"/>
          <p:cNvSpPr/>
          <p:nvPr/>
        </p:nvSpPr>
        <p:spPr>
          <a:xfrm>
            <a:off x="7822525" y="3382076"/>
            <a:ext cx="1390325" cy="2766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1"/>
                </a:solidFill>
              </a:rPr>
              <a:t>Gross profit margin </a:t>
            </a:r>
            <a:br>
              <a:rPr lang="en-US" sz="800" dirty="0" smtClean="0">
                <a:solidFill>
                  <a:schemeClr val="accent1"/>
                </a:solidFill>
              </a:rPr>
            </a:br>
            <a:r>
              <a:rPr lang="en-US" sz="800" dirty="0" smtClean="0">
                <a:solidFill>
                  <a:schemeClr val="accent1"/>
                </a:solidFill>
              </a:rPr>
              <a:t>Product C</a:t>
            </a:r>
            <a:endParaRPr lang="en-US" sz="800" dirty="0">
              <a:solidFill>
                <a:schemeClr val="accent1"/>
              </a:solidFill>
            </a:endParaRPr>
          </a:p>
        </p:txBody>
      </p:sp>
      <p:sp>
        <p:nvSpPr>
          <p:cNvPr id="150" name="Rectangle 16"/>
          <p:cNvSpPr/>
          <p:nvPr/>
        </p:nvSpPr>
        <p:spPr>
          <a:xfrm>
            <a:off x="7822525" y="2707706"/>
            <a:ext cx="1390325" cy="27615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1"/>
                </a:solidFill>
              </a:rPr>
              <a:t>Gross profit margin </a:t>
            </a:r>
            <a:br>
              <a:rPr lang="en-US" sz="800" dirty="0" smtClean="0">
                <a:solidFill>
                  <a:schemeClr val="accent1"/>
                </a:solidFill>
              </a:rPr>
            </a:br>
            <a:r>
              <a:rPr lang="en-US" sz="800" dirty="0" smtClean="0">
                <a:solidFill>
                  <a:schemeClr val="accent1"/>
                </a:solidFill>
              </a:rPr>
              <a:t>Region A</a:t>
            </a:r>
            <a:endParaRPr lang="en-US" sz="800" dirty="0">
              <a:solidFill>
                <a:schemeClr val="accent1"/>
              </a:solidFill>
            </a:endParaRPr>
          </a:p>
        </p:txBody>
      </p:sp>
      <p:sp>
        <p:nvSpPr>
          <p:cNvPr id="151" name="Rechteck 150"/>
          <p:cNvSpPr/>
          <p:nvPr/>
        </p:nvSpPr>
        <p:spPr>
          <a:xfrm>
            <a:off x="7785938" y="2156228"/>
            <a:ext cx="1463500" cy="413762"/>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accent1"/>
                </a:solidFill>
              </a:rPr>
              <a:t>Gross profit margin</a:t>
            </a:r>
          </a:p>
        </p:txBody>
      </p:sp>
      <p:sp>
        <p:nvSpPr>
          <p:cNvPr id="152" name="Pfeil nach unten 151"/>
          <p:cNvSpPr>
            <a:spLocks/>
          </p:cNvSpPr>
          <p:nvPr/>
        </p:nvSpPr>
        <p:spPr>
          <a:xfrm>
            <a:off x="5299081" y="4257931"/>
            <a:ext cx="878198" cy="424786"/>
          </a:xfrm>
          <a:prstGeom prst="down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Rectangle 13"/>
          <p:cNvSpPr/>
          <p:nvPr/>
        </p:nvSpPr>
        <p:spPr>
          <a:xfrm>
            <a:off x="6636084" y="4533162"/>
            <a:ext cx="2012313" cy="3371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t>Gross profit margin </a:t>
            </a:r>
            <a:br>
              <a:rPr lang="en-US" sz="1000" b="1" dirty="0" smtClean="0"/>
            </a:br>
            <a:r>
              <a:rPr lang="en-US" sz="1000" b="1" dirty="0" smtClean="0"/>
              <a:t>XXX AG</a:t>
            </a:r>
            <a:endParaRPr lang="en-US" sz="1000" b="1" dirty="0"/>
          </a:p>
        </p:txBody>
      </p:sp>
      <p:cxnSp>
        <p:nvCxnSpPr>
          <p:cNvPr id="154" name="Gerade Verbindung mit Pfeil 153"/>
          <p:cNvCxnSpPr>
            <a:stCxn id="156" idx="0"/>
            <a:endCxn id="160" idx="2"/>
          </p:cNvCxnSpPr>
          <p:nvPr/>
        </p:nvCxnSpPr>
        <p:spPr>
          <a:xfrm flipV="1">
            <a:off x="8146736" y="4891620"/>
            <a:ext cx="0" cy="168849"/>
          </a:xfrm>
          <a:prstGeom prst="straightConnector1">
            <a:avLst/>
          </a:prstGeom>
          <a:ln w="9525">
            <a:solidFill>
              <a:srgbClr val="BABBB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5" name="Straight Arrow Connector 55"/>
          <p:cNvCxnSpPr>
            <a:stCxn id="156" idx="2"/>
            <a:endCxn id="157" idx="0"/>
          </p:cNvCxnSpPr>
          <p:nvPr/>
        </p:nvCxnSpPr>
        <p:spPr>
          <a:xfrm>
            <a:off x="8146736" y="5195328"/>
            <a:ext cx="0" cy="179990"/>
          </a:xfrm>
          <a:prstGeom prst="straightConnector1">
            <a:avLst/>
          </a:prstGeom>
          <a:ln w="9525">
            <a:solidFill>
              <a:srgbClr val="BABBB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6" name="Rectangle 4"/>
          <p:cNvSpPr>
            <a:spLocks noChangeArrowheads="1"/>
          </p:cNvSpPr>
          <p:nvPr>
            <p:custDataLst>
              <p:tags r:id="rId2"/>
            </p:custDataLst>
          </p:nvPr>
        </p:nvSpPr>
        <p:spPr bwMode="gray">
          <a:xfrm>
            <a:off x="7561271" y="5060469"/>
            <a:ext cx="1170930" cy="134859"/>
          </a:xfrm>
          <a:prstGeom prst="rect">
            <a:avLst/>
          </a:prstGeom>
          <a:solidFill>
            <a:srgbClr val="BABBBC"/>
          </a:solidFill>
          <a:ln w="6350">
            <a:solidFill>
              <a:srgbClr val="BABBBC"/>
            </a:solidFill>
            <a:miter lim="800000"/>
            <a:headEnd/>
            <a:tailEnd/>
          </a:ln>
          <a:effectLst/>
        </p:spPr>
        <p:txBody>
          <a:bodyPr lIns="54000" tIns="54000" rIns="54000" bIns="54000" anchor="ctr" anchorCtr="1"/>
          <a:lstStyle/>
          <a:p>
            <a:pPr algn="ctr" defTabSz="762000" eaLnBrk="0" hangingPunct="0">
              <a:lnSpc>
                <a:spcPct val="90000"/>
              </a:lnSpc>
            </a:pPr>
            <a:r>
              <a:rPr lang="en-US" sz="800" dirty="0" smtClean="0"/>
              <a:t>Comparison</a:t>
            </a:r>
          </a:p>
        </p:txBody>
      </p:sp>
      <p:sp>
        <p:nvSpPr>
          <p:cNvPr id="157" name="Rechteck 156"/>
          <p:cNvSpPr/>
          <p:nvPr/>
        </p:nvSpPr>
        <p:spPr>
          <a:xfrm>
            <a:off x="7561336" y="5375318"/>
            <a:ext cx="1170800" cy="472008"/>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Expected gross profit margin of peer group</a:t>
            </a:r>
            <a:endParaRPr lang="en-US" sz="900" b="1" dirty="0"/>
          </a:p>
        </p:txBody>
      </p:sp>
      <p:sp>
        <p:nvSpPr>
          <p:cNvPr id="158" name="Rectangle 13"/>
          <p:cNvSpPr/>
          <p:nvPr/>
        </p:nvSpPr>
        <p:spPr>
          <a:xfrm>
            <a:off x="691579" y="1877002"/>
            <a:ext cx="1097747" cy="202869"/>
          </a:xfrm>
          <a:prstGeom prst="rect">
            <a:avLst/>
          </a:prstGeom>
          <a:solidFill>
            <a:srgbClr val="747678"/>
          </a:solidFill>
          <a:ln>
            <a:solidFill>
              <a:srgbClr val="74767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t>Definition</a:t>
            </a:r>
            <a:endParaRPr lang="en-US" sz="1000" b="1" dirty="0"/>
          </a:p>
        </p:txBody>
      </p:sp>
      <p:sp>
        <p:nvSpPr>
          <p:cNvPr id="159" name="Abgerundetes Rechteck 158"/>
          <p:cNvSpPr/>
          <p:nvPr/>
        </p:nvSpPr>
        <p:spPr>
          <a:xfrm>
            <a:off x="3822270" y="2111095"/>
            <a:ext cx="3805524" cy="2056605"/>
          </a:xfrm>
          <a:prstGeom prst="roundRect">
            <a:avLst>
              <a:gd name="adj" fmla="val 0"/>
            </a:avLst>
          </a:prstGeom>
          <a:noFill/>
          <a:ln w="22225">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smtClean="0"/>
          </a:p>
        </p:txBody>
      </p:sp>
      <p:sp>
        <p:nvSpPr>
          <p:cNvPr id="160" name="Rechteck 159"/>
          <p:cNvSpPr/>
          <p:nvPr/>
        </p:nvSpPr>
        <p:spPr>
          <a:xfrm>
            <a:off x="8073553" y="4824183"/>
            <a:ext cx="146366" cy="67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Rechteck 160"/>
          <p:cNvSpPr/>
          <p:nvPr/>
        </p:nvSpPr>
        <p:spPr>
          <a:xfrm>
            <a:off x="6128842" y="5181979"/>
            <a:ext cx="146366" cy="67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Rechteck 161"/>
          <p:cNvSpPr/>
          <p:nvPr/>
        </p:nvSpPr>
        <p:spPr>
          <a:xfrm>
            <a:off x="5394817" y="5181979"/>
            <a:ext cx="146366" cy="67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Rechteck 162"/>
          <p:cNvSpPr/>
          <p:nvPr/>
        </p:nvSpPr>
        <p:spPr>
          <a:xfrm>
            <a:off x="6125615" y="5416999"/>
            <a:ext cx="146366" cy="67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Rechteck 163"/>
          <p:cNvSpPr/>
          <p:nvPr/>
        </p:nvSpPr>
        <p:spPr>
          <a:xfrm>
            <a:off x="5391590" y="5416999"/>
            <a:ext cx="146366" cy="67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Rechteck 164"/>
          <p:cNvSpPr/>
          <p:nvPr/>
        </p:nvSpPr>
        <p:spPr>
          <a:xfrm>
            <a:off x="6128842" y="5712556"/>
            <a:ext cx="146366" cy="67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6" name="Rechteck 165"/>
          <p:cNvSpPr/>
          <p:nvPr/>
        </p:nvSpPr>
        <p:spPr>
          <a:xfrm>
            <a:off x="5394817" y="5712556"/>
            <a:ext cx="146366" cy="67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7" name="Oval 20"/>
          <p:cNvSpPr/>
          <p:nvPr/>
        </p:nvSpPr>
        <p:spPr>
          <a:xfrm>
            <a:off x="5662613" y="3118189"/>
            <a:ext cx="146349" cy="138095"/>
          </a:xfrm>
          <a:prstGeom prst="ellipse">
            <a:avLst/>
          </a:prstGeom>
          <a:solidFill>
            <a:srgbClr val="BABB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rgbClr val="000000"/>
                </a:solidFill>
              </a:rPr>
              <a:t>x</a:t>
            </a:r>
            <a:endParaRPr lang="en-US" sz="800" b="1" dirty="0">
              <a:solidFill>
                <a:srgbClr val="000000"/>
              </a:solidFill>
            </a:endParaRPr>
          </a:p>
        </p:txBody>
      </p:sp>
      <p:sp>
        <p:nvSpPr>
          <p:cNvPr id="168" name="Oval 20"/>
          <p:cNvSpPr/>
          <p:nvPr/>
        </p:nvSpPr>
        <p:spPr>
          <a:xfrm>
            <a:off x="7427774" y="3119963"/>
            <a:ext cx="146349" cy="138095"/>
          </a:xfrm>
          <a:prstGeom prst="ellipse">
            <a:avLst/>
          </a:prstGeom>
          <a:solidFill>
            <a:srgbClr val="BABB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rgbClr val="000000"/>
                </a:solidFill>
              </a:rPr>
              <a:t>x</a:t>
            </a:r>
            <a:endParaRPr lang="en-US" sz="800" b="1" dirty="0">
              <a:solidFill>
                <a:srgbClr val="000000"/>
              </a:solidFill>
            </a:endParaRPr>
          </a:p>
        </p:txBody>
      </p:sp>
      <p:sp>
        <p:nvSpPr>
          <p:cNvPr id="169" name="Rectangle 16"/>
          <p:cNvSpPr/>
          <p:nvPr/>
        </p:nvSpPr>
        <p:spPr>
          <a:xfrm>
            <a:off x="7822525" y="3044892"/>
            <a:ext cx="1390325" cy="27616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800" dirty="0" smtClean="0">
                <a:solidFill>
                  <a:schemeClr val="accent1"/>
                </a:solidFill>
              </a:rPr>
              <a:t>Gross profit margin Segment B</a:t>
            </a:r>
            <a:endParaRPr lang="en-US" sz="800" dirty="0">
              <a:solidFill>
                <a:schemeClr val="accent1"/>
              </a:solidFill>
            </a:endParaRPr>
          </a:p>
        </p:txBody>
      </p:sp>
    </p:spTree>
    <p:extLst>
      <p:ext uri="{BB962C8B-B14F-4D97-AF65-F5344CB8AC3E}">
        <p14:creationId xmlns:p14="http://schemas.microsoft.com/office/powerpoint/2010/main" val="6172536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Sales and Gross Profit (Planning) </a:t>
            </a:r>
          </a:p>
        </p:txBody>
      </p:sp>
      <p:sp>
        <p:nvSpPr>
          <p:cNvPr id="4" name="Titel 3"/>
          <p:cNvSpPr>
            <a:spLocks noGrp="1"/>
          </p:cNvSpPr>
          <p:nvPr>
            <p:ph type="title"/>
          </p:nvPr>
        </p:nvSpPr>
        <p:spPr/>
        <p:txBody>
          <a:bodyPr/>
          <a:lstStyle/>
          <a:p>
            <a:r>
              <a:rPr lang="en-US" dirty="0" smtClean="0"/>
              <a:t>Overview (4/7)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3844321059"/>
              </p:ext>
            </p:extLst>
          </p:nvPr>
        </p:nvGraphicFramePr>
        <p:xfrm>
          <a:off x="488950" y="1422400"/>
          <a:ext cx="8928100" cy="4548322"/>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omparability: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ith the analysis of the past and planning as well as the benchmarking of the planning in the market and competitive environment/peer group, the general comparability of the parameters analyzed is to be assured, if necessary by means of adjustments/conversions. </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ifferences may result, for instance, with:</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delineation</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Sales (correct delineation of e.g. regions, segments, products), growth rates (market growth vs. company-specific market growth) and gross margin (regional, segment, product mix differences)</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information shown</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Differing accounting standards or utilization of balancing options or latitude (e.g. reporting as expense vs. capitalization and depreciation, differing realization of sales, etc.)</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fundamental desig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d arrangement of economically identical/similar issues: </a:t>
                      </a:r>
                      <a:r>
                        <a:rPr lang="en-US" sz="900" dirty="0" smtClean="0">
                          <a:solidFill>
                            <a:schemeClr val="tx1"/>
                          </a:solidFill>
                          <a:cs typeface="Arial" pitchFamily="34" charset="0"/>
                        </a:rPr>
                        <a:t>Various measures for achieving the same economic result (e.g. acquisition vs. leasing/rental, borrowing vs. factoring)</a:t>
                      </a: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 lack of complete comparability (e.g. lack of information about the impact of options, etc. with peers that appear to be material) is to be mentioned and appropriately recognized (e.g. “only limited validit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dirty="0" smtClean="0">
                          <a:ln>
                            <a:noFill/>
                          </a:ln>
                          <a:solidFill>
                            <a:srgbClr val="000000"/>
                          </a:solidFill>
                          <a:effectLst/>
                          <a:uLnTx/>
                          <a:uFillTx/>
                          <a:latin typeface="+mn-lt"/>
                          <a:ea typeface="+mn-ea"/>
                          <a:cs typeface="Arial" pitchFamily="34" charset="0"/>
                        </a:rPr>
                        <a:t>Planning depth: </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Frequently, the first planning year (budget) is detailed and therefore planned realistically or even conservatively because other processes are based on them (remuneration, metrics, target attainment) and measurement can be made promptly (current trading). Subsequent planning years are generally not included here and are frequently based on a reduced depth of the planning assumptions. They are often planned generally, frequently much “more fancifully” (higher growth, increase in margins, similar to a strategic outlook) and therefore should be viewed more criticall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dirty="0" smtClean="0">
                          <a:ln>
                            <a:noFill/>
                          </a:ln>
                          <a:solidFill>
                            <a:srgbClr val="000000"/>
                          </a:solidFill>
                          <a:effectLst/>
                          <a:uLnTx/>
                          <a:uFillTx/>
                          <a:latin typeface="+mn-lt"/>
                          <a:ea typeface="+mn-ea"/>
                          <a:cs typeface="Arial" pitchFamily="34" charset="0"/>
                        </a:rPr>
                        <a:t>Cyclical nature: </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In the past analysis there is frequently a clearly cyclical nature of the business model depending on the economic and product life cycles. In planning, these cycles are frequently neglected and a constant growth, increasing margins, etc. displayed. The planning is to be viewed critically in this regard.</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Timing: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specially with growing companies a certain amount of time will pass between investment and the resulting positive contribution to value. The planning analysis must take this into consideration, especially with benchmarking.</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Materiality: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ith the analysis of the past and planning as well as the benchmarking of the planning in the market and competitive environment/peer group, care should be taken that these are only performed for material products/product groups/segments/regions. In the assessment of the materiality it is better to base these on a margin parameter (e.g. gross profit) than a sales parameter. For instance, Product A represents 60% of the sales and 10% of the gross profit while Product B holds 40% of the sales and 90% of the gross profit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sym typeface="Wingdings" panose="05000000000000000000" pitchFamily="2" charset="2"/>
                        </a:rPr>
                        <a:t></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focus on Product B</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5" y="1768280"/>
            <a:ext cx="371794" cy="461665"/>
            <a:chOff x="2619016" y="2564904"/>
            <a:chExt cx="559665" cy="694949"/>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54" name="Rechteck 53"/>
            <p:cNvSpPr/>
            <p:nvPr/>
          </p:nvSpPr>
          <p:spPr>
            <a:xfrm>
              <a:off x="2628888" y="2564904"/>
              <a:ext cx="536173" cy="694949"/>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3468223"/>
            <a:ext cx="371793" cy="461665"/>
            <a:chOff x="3638116" y="2564904"/>
            <a:chExt cx="559663" cy="694947"/>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6" name="Rechteck 65"/>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4122420"/>
            <a:ext cx="371793" cy="461665"/>
            <a:chOff x="3638116" y="2564904"/>
            <a:chExt cx="559663" cy="694947"/>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4" name="Rechteck 73"/>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27" name="Gruppieren 26"/>
          <p:cNvGrpSpPr/>
          <p:nvPr/>
        </p:nvGrpSpPr>
        <p:grpSpPr>
          <a:xfrm>
            <a:off x="602331" y="4776617"/>
            <a:ext cx="371793" cy="461665"/>
            <a:chOff x="3638116" y="2564904"/>
            <a:chExt cx="559663" cy="694947"/>
          </a:xfrm>
        </p:grpSpPr>
        <p:sp>
          <p:nvSpPr>
            <p:cNvPr id="28" name="Ellipse 2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29" name="Akkord 2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0" name="Akkord 29"/>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1"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2" name="Akkord 31"/>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3" name="Rechteck 32"/>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34" name="Gruppieren 33"/>
          <p:cNvGrpSpPr/>
          <p:nvPr/>
        </p:nvGrpSpPr>
        <p:grpSpPr>
          <a:xfrm>
            <a:off x="602331" y="5430815"/>
            <a:ext cx="376724" cy="461665"/>
            <a:chOff x="3627089" y="2564904"/>
            <a:chExt cx="567086" cy="694948"/>
          </a:xfrm>
        </p:grpSpPr>
        <p:sp>
          <p:nvSpPr>
            <p:cNvPr id="35" name="Ellipse 34"/>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6" name="Akkord 35"/>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7"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8"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9" name="Akkord 38"/>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0" name="Rechteck 39"/>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5</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Sales and Gross Profit (Planning) </a:t>
            </a:r>
          </a:p>
        </p:txBody>
      </p:sp>
      <p:sp>
        <p:nvSpPr>
          <p:cNvPr id="4" name="Titel 3"/>
          <p:cNvSpPr>
            <a:spLocks noGrp="1"/>
          </p:cNvSpPr>
          <p:nvPr>
            <p:ph type="title"/>
          </p:nvPr>
        </p:nvSpPr>
        <p:spPr/>
        <p:txBody>
          <a:bodyPr/>
          <a:lstStyle/>
          <a:p>
            <a:r>
              <a:rPr lang="en-US" dirty="0" smtClean="0"/>
              <a:t>Overview (5/7)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936840893"/>
              </p:ext>
            </p:extLst>
          </p:nvPr>
        </p:nvGraphicFramePr>
        <p:xfrm>
          <a:off x="488950" y="1422400"/>
          <a:ext cx="8928100" cy="2232000"/>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Evidence: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hat does management base its planning assumptions on? Were external studies or other such sources utilized or is the planning based solely on empirical values and assumptions? Were the measures for achieving the plan documented? A prior soundness of the planning depends on the breadth of the information and the basis of the assumption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Intentio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Generally a more optimistic picture of the future developmental potential of the target is shown and positive aspects especially emphasized in the framework of sell-side clients. While for buy-side clients, planning is scrutinized, especially critically, and tends to be viewed pessimistically. In both cases, it may come to adjustments of the client planning, scenarios or references to these in our report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onversion actual to pla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Frequently, the first planning year/budget is not based on audited results from the previous actual year, but rather on a forecast/extrapolation for the previous actual year. Frequently, the audited results and forecast/extrapolation for the previous actual year deviate from one another. Breaches may then occur between the previous actual year and first planning year/budget that may have to be adjusted in case of materiality (adjustment of planning, P&amp;L and balance sheet).</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60" name="Gruppieren 59"/>
          <p:cNvGrpSpPr/>
          <p:nvPr/>
        </p:nvGrpSpPr>
        <p:grpSpPr>
          <a:xfrm>
            <a:off x="612448" y="2468098"/>
            <a:ext cx="371793" cy="461665"/>
            <a:chOff x="3638116" y="2564904"/>
            <a:chExt cx="559663" cy="694947"/>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2" name="Akkord 61"/>
            <p:cNvSpPr/>
            <p:nvPr/>
          </p:nvSpPr>
          <p:spPr>
            <a:xfrm>
              <a:off x="3642304" y="2617334"/>
              <a:ext cx="551875" cy="558735"/>
            </a:xfrm>
            <a:prstGeom prst="chord">
              <a:avLst>
                <a:gd name="adj1" fmla="val 1322577"/>
                <a:gd name="adj2" fmla="val 155817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6" name="Rechteck 65"/>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7</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7" y="3136841"/>
            <a:ext cx="371793" cy="461665"/>
            <a:chOff x="3638116" y="2564904"/>
            <a:chExt cx="559663" cy="694947"/>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5"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4" name="Rechteck 73"/>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8</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85" name="Gruppieren 84"/>
          <p:cNvGrpSpPr/>
          <p:nvPr/>
        </p:nvGrpSpPr>
        <p:grpSpPr>
          <a:xfrm>
            <a:off x="607685" y="1796855"/>
            <a:ext cx="376724" cy="461665"/>
            <a:chOff x="3627089" y="2564904"/>
            <a:chExt cx="567086" cy="694948"/>
          </a:xfrm>
        </p:grpSpPr>
        <p:sp>
          <p:nvSpPr>
            <p:cNvPr id="86" name="Ellipse 85"/>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87" name="Akkord 86"/>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8"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9"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90" name="Akkord 89"/>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91" name="Rechteck 90"/>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6</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027466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noProof="0" dirty="0"/>
              <a:t>Sales and Gross Profit (Planning) </a:t>
            </a:r>
          </a:p>
        </p:txBody>
      </p:sp>
      <p:sp>
        <p:nvSpPr>
          <p:cNvPr id="4" name="Titel 3"/>
          <p:cNvSpPr>
            <a:spLocks noGrp="1"/>
          </p:cNvSpPr>
          <p:nvPr>
            <p:ph type="title"/>
          </p:nvPr>
        </p:nvSpPr>
        <p:spPr/>
        <p:txBody>
          <a:bodyPr/>
          <a:lstStyle/>
          <a:p>
            <a:r>
              <a:rPr lang="en-US" noProof="0" dirty="0" smtClean="0"/>
              <a:t>Overview (6/7) – Core issues</a:t>
            </a:r>
            <a:endParaRPr lang="en-US" noProof="0" dirty="0"/>
          </a:p>
        </p:txBody>
      </p:sp>
      <p:graphicFrame>
        <p:nvGraphicFramePr>
          <p:cNvPr id="70" name="Tabelle 69"/>
          <p:cNvGraphicFramePr>
            <a:graphicFrameLocks noGrp="1"/>
          </p:cNvGraphicFramePr>
          <p:nvPr>
            <p:extLst>
              <p:ext uri="{D42A27DB-BD31-4B8C-83A1-F6EECF244321}">
                <p14:modId xmlns:p14="http://schemas.microsoft.com/office/powerpoint/2010/main" val="1740598648"/>
              </p:ext>
            </p:extLst>
          </p:nvPr>
        </p:nvGraphicFramePr>
        <p:xfrm>
          <a:off x="488950" y="1422400"/>
          <a:ext cx="8928100" cy="4394134"/>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216000">
                        <a:lnSpc>
                          <a:spcPct val="95000"/>
                        </a:lnSpc>
                        <a:spcBef>
                          <a:spcPts val="0"/>
                        </a:spcBef>
                        <a:spcAft>
                          <a:spcPts val="200"/>
                        </a:spcAft>
                        <a:buAutoNum type="arabicPeriod"/>
                        <a:tabLst>
                          <a:tab pos="176213" algn="l"/>
                        </a:tabLst>
                      </a:pPr>
                      <a:r>
                        <a:rPr lang="en-US" sz="900" b="1" dirty="0" smtClean="0">
                          <a:solidFill>
                            <a:schemeClr val="tx2"/>
                          </a:solidFill>
                        </a:rPr>
                        <a:t>Is the sales planning consistent with market expectation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mparison of sales planning for expected market growth rates, market studies, size of entire market and market share, growth rates of peer group companies (benchmarking), economic growth rates (reasonable selection). Note: Assure a uniform definition of sales in market studies, peers and company!</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dentify, analyze and justify possible deviation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ay attention to the results of the past analyses with regard to dependency on general economy and seasonality of sal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0-11</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16000" indent="-216000">
                        <a:lnSpc>
                          <a:spcPct val="95000"/>
                        </a:lnSpc>
                        <a:spcBef>
                          <a:spcPts val="0"/>
                        </a:spcBef>
                        <a:spcAft>
                          <a:spcPts val="200"/>
                        </a:spcAft>
                        <a:buClr>
                          <a:schemeClr val="tx2"/>
                        </a:buClr>
                        <a:tabLst>
                          <a:tab pos="176213" algn="l"/>
                        </a:tabLst>
                      </a:pPr>
                      <a:r>
                        <a:rPr lang="en-US" sz="900" b="1" kern="1200" dirty="0" smtClean="0">
                          <a:solidFill>
                            <a:schemeClr val="tx2"/>
                          </a:solidFill>
                          <a:latin typeface="+mn-lt"/>
                          <a:ea typeface="+mn-ea"/>
                          <a:cs typeface="+mn-cs"/>
                        </a:rPr>
                        <a:t>2. 		Which products/product groups/regions/segments </a:t>
                      </a:r>
                      <a:br>
                        <a:rPr lang="en-US" sz="900" b="1" kern="1200" dirty="0" smtClean="0">
                          <a:solidFill>
                            <a:schemeClr val="tx2"/>
                          </a:solidFill>
                          <a:latin typeface="+mn-lt"/>
                          <a:ea typeface="+mn-ea"/>
                          <a:cs typeface="+mn-cs"/>
                        </a:rPr>
                      </a:br>
                      <a:r>
                        <a:rPr lang="en-US" sz="900" b="1" kern="1200" dirty="0" smtClean="0">
                          <a:solidFill>
                            <a:schemeClr val="tx2"/>
                          </a:solidFill>
                          <a:latin typeface="+mn-lt"/>
                          <a:ea typeface="+mn-ea"/>
                          <a:cs typeface="+mn-cs"/>
                        </a:rPr>
                        <a:t>have the greatest importance for sales/gross profit </a:t>
                      </a:r>
                      <a:br>
                        <a:rPr lang="en-US" sz="900" b="1" kern="1200" dirty="0" smtClean="0">
                          <a:solidFill>
                            <a:schemeClr val="tx2"/>
                          </a:solidFill>
                          <a:latin typeface="+mn-lt"/>
                          <a:ea typeface="+mn-ea"/>
                          <a:cs typeface="+mn-cs"/>
                        </a:rPr>
                      </a:br>
                      <a:r>
                        <a:rPr lang="en-US" sz="900" b="1" kern="1200" dirty="0" smtClean="0">
                          <a:solidFill>
                            <a:schemeClr val="tx2"/>
                          </a:solidFill>
                          <a:latin typeface="+mn-lt"/>
                          <a:ea typeface="+mn-ea"/>
                          <a:cs typeface="+mn-cs"/>
                        </a:rPr>
                        <a:t>over time?</a:t>
                      </a:r>
                    </a:p>
                    <a:p>
                      <a:pPr marL="216000" indent="-216000">
                        <a:lnSpc>
                          <a:spcPct val="95000"/>
                        </a:lnSpc>
                        <a:spcBef>
                          <a:spcPts val="0"/>
                        </a:spcBef>
                        <a:spcAft>
                          <a:spcPts val="200"/>
                        </a:spcAft>
                        <a:buClr>
                          <a:schemeClr val="tx2"/>
                        </a:buClr>
                        <a:tabLst>
                          <a:tab pos="176213" algn="l"/>
                        </a:tabLst>
                      </a:pPr>
                      <a:endParaRPr lang="en-US" sz="900" b="1" kern="120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the composition of sales and gross profit based on the actual situation in the planning period</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rioritization of follow-up analyses on the basis of the importance of products/product groups/segments/regions for the gross profit (!)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mn-cs"/>
                        </a:rPr>
                        <a:t>12-16</a:t>
                      </a: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16000" indent="-216000">
                        <a:lnSpc>
                          <a:spcPct val="95000"/>
                        </a:lnSpc>
                        <a:spcBef>
                          <a:spcPts val="0"/>
                        </a:spcBef>
                        <a:spcAft>
                          <a:spcPts val="200"/>
                        </a:spcAft>
                        <a:buAutoNum type="arabicPeriod" startAt="3"/>
                        <a:tabLst>
                          <a:tab pos="176213" algn="l"/>
                        </a:tabLst>
                      </a:pPr>
                      <a:r>
                        <a:rPr lang="en-US" sz="900" b="1" kern="1200" dirty="0" smtClean="0">
                          <a:solidFill>
                            <a:schemeClr val="tx2"/>
                          </a:solidFill>
                          <a:latin typeface="+mn-lt"/>
                          <a:ea typeface="+mn-ea"/>
                          <a:cs typeface="+mn-cs"/>
                        </a:rPr>
                        <a:t>What issues have a major impact on the planned development of sales and gross profit?</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major drivers (e.g. price or volume effects, portfolio effects, regulatory changes, etc.), trends, outliers, breaks, etc.</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Have ramp-up effects for new products/regional expansion been considered? Presentation of like-for-like growth</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nversion of last actual year to planning year(s) – e.g. waterfall chart</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7-18</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612000">
                <a:tc>
                  <a:txBody>
                    <a:bodyPr/>
                    <a:lstStyle/>
                    <a:p>
                      <a:pPr marL="228600" indent="-228600">
                        <a:lnSpc>
                          <a:spcPct val="95000"/>
                        </a:lnSpc>
                        <a:spcBef>
                          <a:spcPts val="0"/>
                        </a:spcBef>
                        <a:spcAft>
                          <a:spcPts val="200"/>
                        </a:spcAft>
                        <a:buFont typeface="+mj-lt"/>
                        <a:buAutoNum type="arabicPeriod" startAt="4"/>
                        <a:tabLst>
                          <a:tab pos="176213" algn="l"/>
                        </a:tabLst>
                      </a:pPr>
                      <a:r>
                        <a:rPr lang="en-US" sz="900" b="1" kern="1200" dirty="0" smtClean="0">
                          <a:solidFill>
                            <a:schemeClr val="tx2"/>
                          </a:solidFill>
                          <a:latin typeface="+mn-lt"/>
                          <a:ea typeface="+mn-ea"/>
                          <a:cs typeface="+mn-cs"/>
                        </a:rPr>
                        <a:t>Does the current order backlog support the expected sale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current order backlog and maturity till achievement of sale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Note the results from the past analysis with regard to historical book-to-bill ratios to effective day</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9</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828000">
                <a:tc>
                  <a:txBody>
                    <a:bodyPr/>
                    <a:lstStyle/>
                    <a:p>
                      <a:pPr marL="228600" indent="-228600">
                        <a:lnSpc>
                          <a:spcPct val="95000"/>
                        </a:lnSpc>
                        <a:spcBef>
                          <a:spcPts val="0"/>
                        </a:spcBef>
                        <a:spcAft>
                          <a:spcPts val="200"/>
                        </a:spcAft>
                        <a:buFont typeface="+mj-lt"/>
                        <a:buAutoNum type="arabicPeriod" startAt="5"/>
                        <a:tabLst>
                          <a:tab pos="176213" algn="l"/>
                        </a:tabLst>
                      </a:pPr>
                      <a:r>
                        <a:rPr lang="en-US" sz="900" b="1" kern="1200" dirty="0" smtClean="0">
                          <a:solidFill>
                            <a:schemeClr val="tx2"/>
                          </a:solidFill>
                          <a:latin typeface="+mn-lt"/>
                          <a:ea typeface="+mn-ea"/>
                          <a:cs typeface="+mn-cs"/>
                        </a:rPr>
                        <a:t>Can the sales planning be achieved with the planned capacity?</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sales planning in relation to existing capacities (utilization) and to investment and material costs (external labor and maintenance) and personnel cost planning (own performance)</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dirty="0" smtClean="0">
                          <a:solidFill>
                            <a:schemeClr val="tx2"/>
                          </a:solidFill>
                        </a:rPr>
                        <a:t>20</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pic>
        <p:nvPicPr>
          <p:cNvPr id="2" name="Grafik 1"/>
          <p:cNvPicPr>
            <a:picLocks/>
          </p:cNvPicPr>
          <p:nvPr/>
        </p:nvPicPr>
        <p:blipFill>
          <a:blip r:embed="rId3"/>
          <a:stretch>
            <a:fillRect/>
          </a:stretch>
        </p:blipFill>
        <p:spPr>
          <a:xfrm>
            <a:off x="866922" y="2333274"/>
            <a:ext cx="340197" cy="405178"/>
          </a:xfrm>
          <a:prstGeom prst="rect">
            <a:avLst/>
          </a:prstGeom>
        </p:spPr>
      </p:pic>
      <p:pic>
        <p:nvPicPr>
          <p:cNvPr id="5" name="Grafik 4"/>
          <p:cNvPicPr>
            <a:picLocks noChangeAspect="1"/>
          </p:cNvPicPr>
          <p:nvPr/>
        </p:nvPicPr>
        <p:blipFill>
          <a:blip r:embed="rId4"/>
          <a:stretch>
            <a:fillRect/>
          </a:stretch>
        </p:blipFill>
        <p:spPr>
          <a:xfrm>
            <a:off x="1155830" y="2333274"/>
            <a:ext cx="340197" cy="405178"/>
          </a:xfrm>
          <a:prstGeom prst="rect">
            <a:avLst/>
          </a:prstGeom>
        </p:spPr>
      </p:pic>
      <p:pic>
        <p:nvPicPr>
          <p:cNvPr id="7" name="Grafik 6"/>
          <p:cNvPicPr>
            <a:picLocks noChangeAspect="1"/>
          </p:cNvPicPr>
          <p:nvPr/>
        </p:nvPicPr>
        <p:blipFill>
          <a:blip r:embed="rId5"/>
          <a:stretch>
            <a:fillRect/>
          </a:stretch>
        </p:blipFill>
        <p:spPr>
          <a:xfrm>
            <a:off x="1444738" y="2333274"/>
            <a:ext cx="340197" cy="405178"/>
          </a:xfrm>
          <a:prstGeom prst="rect">
            <a:avLst/>
          </a:prstGeom>
        </p:spPr>
      </p:pic>
      <p:pic>
        <p:nvPicPr>
          <p:cNvPr id="83" name="Grafik 82"/>
          <p:cNvPicPr>
            <a:picLocks noChangeAspect="1"/>
          </p:cNvPicPr>
          <p:nvPr/>
        </p:nvPicPr>
        <p:blipFill>
          <a:blip r:embed="rId6"/>
          <a:stretch>
            <a:fillRect/>
          </a:stretch>
        </p:blipFill>
        <p:spPr>
          <a:xfrm>
            <a:off x="1733646" y="2333274"/>
            <a:ext cx="340197" cy="405178"/>
          </a:xfrm>
          <a:prstGeom prst="rect">
            <a:avLst/>
          </a:prstGeom>
        </p:spPr>
      </p:pic>
      <p:pic>
        <p:nvPicPr>
          <p:cNvPr id="91" name="Grafik 90"/>
          <p:cNvPicPr>
            <a:picLocks noChangeAspect="1"/>
          </p:cNvPicPr>
          <p:nvPr/>
        </p:nvPicPr>
        <p:blipFill>
          <a:blip r:embed="rId7"/>
          <a:stretch>
            <a:fillRect/>
          </a:stretch>
        </p:blipFill>
        <p:spPr>
          <a:xfrm>
            <a:off x="2022554" y="2333274"/>
            <a:ext cx="340197" cy="405178"/>
          </a:xfrm>
          <a:prstGeom prst="rect">
            <a:avLst/>
          </a:prstGeom>
        </p:spPr>
      </p:pic>
      <p:pic>
        <p:nvPicPr>
          <p:cNvPr id="99" name="Grafik 98"/>
          <p:cNvPicPr>
            <a:picLocks noChangeAspect="1"/>
          </p:cNvPicPr>
          <p:nvPr/>
        </p:nvPicPr>
        <p:blipFill>
          <a:blip r:embed="rId8"/>
          <a:stretch>
            <a:fillRect/>
          </a:stretch>
        </p:blipFill>
        <p:spPr>
          <a:xfrm>
            <a:off x="2311464" y="2333274"/>
            <a:ext cx="340197" cy="405178"/>
          </a:xfrm>
          <a:prstGeom prst="rect">
            <a:avLst/>
          </a:prstGeom>
        </p:spPr>
      </p:pic>
      <p:pic>
        <p:nvPicPr>
          <p:cNvPr id="104" name="Grafik 103"/>
          <p:cNvPicPr>
            <a:picLocks noChangeAspect="1"/>
          </p:cNvPicPr>
          <p:nvPr/>
        </p:nvPicPr>
        <p:blipFill>
          <a:blip r:embed="rId4"/>
          <a:stretch>
            <a:fillRect/>
          </a:stretch>
        </p:blipFill>
        <p:spPr>
          <a:xfrm>
            <a:off x="2022554" y="3248433"/>
            <a:ext cx="340197" cy="405178"/>
          </a:xfrm>
          <a:prstGeom prst="rect">
            <a:avLst/>
          </a:prstGeom>
        </p:spPr>
      </p:pic>
      <p:pic>
        <p:nvPicPr>
          <p:cNvPr id="107" name="Grafik 106"/>
          <p:cNvPicPr>
            <a:picLocks noChangeAspect="1"/>
          </p:cNvPicPr>
          <p:nvPr/>
        </p:nvPicPr>
        <p:blipFill>
          <a:blip r:embed="rId7"/>
          <a:stretch>
            <a:fillRect/>
          </a:stretch>
        </p:blipFill>
        <p:spPr>
          <a:xfrm>
            <a:off x="2593735" y="3248433"/>
            <a:ext cx="340197" cy="405178"/>
          </a:xfrm>
          <a:prstGeom prst="rect">
            <a:avLst/>
          </a:prstGeom>
        </p:spPr>
      </p:pic>
      <p:pic>
        <p:nvPicPr>
          <p:cNvPr id="3" name="Grafik 2"/>
          <p:cNvPicPr>
            <a:picLocks/>
          </p:cNvPicPr>
          <p:nvPr/>
        </p:nvPicPr>
        <p:blipFill>
          <a:blip r:embed="rId9"/>
          <a:stretch>
            <a:fillRect/>
          </a:stretch>
        </p:blipFill>
        <p:spPr>
          <a:xfrm>
            <a:off x="2593735" y="4056712"/>
            <a:ext cx="340197" cy="405178"/>
          </a:xfrm>
          <a:prstGeom prst="rect">
            <a:avLst/>
          </a:prstGeom>
        </p:spPr>
      </p:pic>
      <p:pic>
        <p:nvPicPr>
          <p:cNvPr id="57" name="Grafik 56"/>
          <p:cNvPicPr>
            <a:picLocks/>
          </p:cNvPicPr>
          <p:nvPr/>
        </p:nvPicPr>
        <p:blipFill>
          <a:blip r:embed="rId10"/>
          <a:stretch>
            <a:fillRect/>
          </a:stretch>
        </p:blipFill>
        <p:spPr>
          <a:xfrm>
            <a:off x="2593735" y="2333274"/>
            <a:ext cx="340197" cy="405178"/>
          </a:xfrm>
          <a:prstGeom prst="rect">
            <a:avLst/>
          </a:prstGeom>
        </p:spPr>
      </p:pic>
      <p:pic>
        <p:nvPicPr>
          <p:cNvPr id="58" name="Grafik 57"/>
          <p:cNvPicPr>
            <a:picLocks noChangeAspect="1"/>
          </p:cNvPicPr>
          <p:nvPr/>
        </p:nvPicPr>
        <p:blipFill>
          <a:blip r:embed="rId6"/>
          <a:stretch>
            <a:fillRect/>
          </a:stretch>
        </p:blipFill>
        <p:spPr>
          <a:xfrm>
            <a:off x="2311464" y="3248433"/>
            <a:ext cx="340197" cy="405178"/>
          </a:xfrm>
          <a:prstGeom prst="rect">
            <a:avLst/>
          </a:prstGeom>
        </p:spPr>
      </p:pic>
      <p:pic>
        <p:nvPicPr>
          <p:cNvPr id="60" name="Grafik 59"/>
          <p:cNvPicPr>
            <a:picLocks noChangeAspect="1"/>
          </p:cNvPicPr>
          <p:nvPr/>
        </p:nvPicPr>
        <p:blipFill>
          <a:blip r:embed="rId6"/>
          <a:stretch>
            <a:fillRect/>
          </a:stretch>
        </p:blipFill>
        <p:spPr>
          <a:xfrm>
            <a:off x="1733646" y="4056712"/>
            <a:ext cx="340197" cy="405178"/>
          </a:xfrm>
          <a:prstGeom prst="rect">
            <a:avLst/>
          </a:prstGeom>
        </p:spPr>
      </p:pic>
      <p:pic>
        <p:nvPicPr>
          <p:cNvPr id="62" name="Grafik 61"/>
          <p:cNvPicPr>
            <a:picLocks noChangeAspect="1"/>
          </p:cNvPicPr>
          <p:nvPr/>
        </p:nvPicPr>
        <p:blipFill>
          <a:blip r:embed="rId8"/>
          <a:stretch>
            <a:fillRect/>
          </a:stretch>
        </p:blipFill>
        <p:spPr>
          <a:xfrm>
            <a:off x="2022554" y="4056712"/>
            <a:ext cx="340197" cy="405178"/>
          </a:xfrm>
          <a:prstGeom prst="rect">
            <a:avLst/>
          </a:prstGeom>
        </p:spPr>
      </p:pic>
      <p:pic>
        <p:nvPicPr>
          <p:cNvPr id="63" name="Grafik 62"/>
          <p:cNvPicPr>
            <a:picLocks/>
          </p:cNvPicPr>
          <p:nvPr/>
        </p:nvPicPr>
        <p:blipFill>
          <a:blip r:embed="rId10"/>
          <a:stretch>
            <a:fillRect/>
          </a:stretch>
        </p:blipFill>
        <p:spPr>
          <a:xfrm>
            <a:off x="2311464" y="4056712"/>
            <a:ext cx="340197" cy="405178"/>
          </a:xfrm>
          <a:prstGeom prst="rect">
            <a:avLst/>
          </a:prstGeom>
        </p:spPr>
      </p:pic>
      <p:pic>
        <p:nvPicPr>
          <p:cNvPr id="64" name="Grafik 63"/>
          <p:cNvPicPr>
            <a:picLocks/>
          </p:cNvPicPr>
          <p:nvPr/>
        </p:nvPicPr>
        <p:blipFill>
          <a:blip r:embed="rId3"/>
          <a:stretch>
            <a:fillRect/>
          </a:stretch>
        </p:blipFill>
        <p:spPr>
          <a:xfrm>
            <a:off x="1444738" y="4056712"/>
            <a:ext cx="340197" cy="405178"/>
          </a:xfrm>
          <a:prstGeom prst="rect">
            <a:avLst/>
          </a:prstGeom>
        </p:spPr>
      </p:pic>
      <p:pic>
        <p:nvPicPr>
          <p:cNvPr id="65" name="Grafik 64"/>
          <p:cNvPicPr>
            <a:picLocks noChangeAspect="1"/>
          </p:cNvPicPr>
          <p:nvPr/>
        </p:nvPicPr>
        <p:blipFill>
          <a:blip r:embed="rId4"/>
          <a:stretch>
            <a:fillRect/>
          </a:stretch>
        </p:blipFill>
        <p:spPr>
          <a:xfrm>
            <a:off x="1733646" y="4687976"/>
            <a:ext cx="340197" cy="405178"/>
          </a:xfrm>
          <a:prstGeom prst="rect">
            <a:avLst/>
          </a:prstGeom>
        </p:spPr>
      </p:pic>
      <p:pic>
        <p:nvPicPr>
          <p:cNvPr id="66" name="Grafik 65"/>
          <p:cNvPicPr>
            <a:picLocks noChangeAspect="1"/>
          </p:cNvPicPr>
          <p:nvPr/>
        </p:nvPicPr>
        <p:blipFill>
          <a:blip r:embed="rId5"/>
          <a:stretch>
            <a:fillRect/>
          </a:stretch>
        </p:blipFill>
        <p:spPr>
          <a:xfrm>
            <a:off x="2022554" y="4687976"/>
            <a:ext cx="340197" cy="405178"/>
          </a:xfrm>
          <a:prstGeom prst="rect">
            <a:avLst/>
          </a:prstGeom>
        </p:spPr>
      </p:pic>
      <p:pic>
        <p:nvPicPr>
          <p:cNvPr id="67" name="Grafik 66"/>
          <p:cNvPicPr>
            <a:picLocks noChangeAspect="1"/>
          </p:cNvPicPr>
          <p:nvPr/>
        </p:nvPicPr>
        <p:blipFill>
          <a:blip r:embed="rId6"/>
          <a:stretch>
            <a:fillRect/>
          </a:stretch>
        </p:blipFill>
        <p:spPr>
          <a:xfrm>
            <a:off x="2311464" y="4687976"/>
            <a:ext cx="340197" cy="405178"/>
          </a:xfrm>
          <a:prstGeom prst="rect">
            <a:avLst/>
          </a:prstGeom>
        </p:spPr>
      </p:pic>
      <p:pic>
        <p:nvPicPr>
          <p:cNvPr id="68" name="Grafik 67"/>
          <p:cNvPicPr>
            <a:picLocks/>
          </p:cNvPicPr>
          <p:nvPr/>
        </p:nvPicPr>
        <p:blipFill>
          <a:blip r:embed="rId10"/>
          <a:stretch>
            <a:fillRect/>
          </a:stretch>
        </p:blipFill>
        <p:spPr>
          <a:xfrm>
            <a:off x="2593735" y="4687976"/>
            <a:ext cx="340197" cy="405178"/>
          </a:xfrm>
          <a:prstGeom prst="rect">
            <a:avLst/>
          </a:prstGeom>
        </p:spPr>
      </p:pic>
      <p:pic>
        <p:nvPicPr>
          <p:cNvPr id="69" name="Grafik 68"/>
          <p:cNvPicPr>
            <a:picLocks noChangeAspect="1"/>
          </p:cNvPicPr>
          <p:nvPr/>
        </p:nvPicPr>
        <p:blipFill>
          <a:blip r:embed="rId4"/>
          <a:stretch>
            <a:fillRect/>
          </a:stretch>
        </p:blipFill>
        <p:spPr>
          <a:xfrm>
            <a:off x="2311464" y="5504184"/>
            <a:ext cx="340197" cy="405178"/>
          </a:xfrm>
          <a:prstGeom prst="rect">
            <a:avLst/>
          </a:prstGeom>
        </p:spPr>
      </p:pic>
      <p:pic>
        <p:nvPicPr>
          <p:cNvPr id="71" name="Grafik 70"/>
          <p:cNvPicPr>
            <a:picLocks noChangeAspect="1"/>
          </p:cNvPicPr>
          <p:nvPr/>
        </p:nvPicPr>
        <p:blipFill>
          <a:blip r:embed="rId6"/>
          <a:stretch>
            <a:fillRect/>
          </a:stretch>
        </p:blipFill>
        <p:spPr>
          <a:xfrm>
            <a:off x="2593735" y="5504184"/>
            <a:ext cx="340197" cy="405178"/>
          </a:xfrm>
          <a:prstGeom prst="rect">
            <a:avLst/>
          </a:prstGeom>
        </p:spPr>
      </p:pic>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noProof="0" dirty="0"/>
              <a:t>Sales and Gross Profit (Planning) </a:t>
            </a:r>
          </a:p>
        </p:txBody>
      </p:sp>
      <p:sp>
        <p:nvSpPr>
          <p:cNvPr id="4" name="Titel 3"/>
          <p:cNvSpPr>
            <a:spLocks noGrp="1"/>
          </p:cNvSpPr>
          <p:nvPr>
            <p:ph type="title"/>
          </p:nvPr>
        </p:nvSpPr>
        <p:spPr/>
        <p:txBody>
          <a:bodyPr/>
          <a:lstStyle/>
          <a:p>
            <a:r>
              <a:rPr lang="en-US" noProof="0" dirty="0" smtClean="0"/>
              <a:t>Overview (7/7) – Core issues</a:t>
            </a:r>
            <a:endParaRPr lang="en-US" noProof="0" dirty="0"/>
          </a:p>
        </p:txBody>
      </p:sp>
      <p:graphicFrame>
        <p:nvGraphicFramePr>
          <p:cNvPr id="70" name="Tabelle 69"/>
          <p:cNvGraphicFramePr>
            <a:graphicFrameLocks noGrp="1"/>
          </p:cNvGraphicFramePr>
          <p:nvPr>
            <p:extLst>
              <p:ext uri="{D42A27DB-BD31-4B8C-83A1-F6EECF244321}">
                <p14:modId xmlns:p14="http://schemas.microsoft.com/office/powerpoint/2010/main" val="2262985888"/>
              </p:ext>
            </p:extLst>
          </p:nvPr>
        </p:nvGraphicFramePr>
        <p:xfrm>
          <a:off x="488950" y="1422400"/>
          <a:ext cx="8928100" cy="3450012"/>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28600" indent="-228600">
                        <a:lnSpc>
                          <a:spcPct val="95000"/>
                        </a:lnSpc>
                        <a:spcBef>
                          <a:spcPts val="0"/>
                        </a:spcBef>
                        <a:spcAft>
                          <a:spcPts val="200"/>
                        </a:spcAft>
                        <a:buFont typeface="+mj-lt"/>
                        <a:buAutoNum type="arabicPeriod" startAt="6"/>
                        <a:tabLst>
                          <a:tab pos="176213" algn="l"/>
                        </a:tabLst>
                      </a:pPr>
                      <a:r>
                        <a:rPr lang="en-US" sz="900" b="1" dirty="0" smtClean="0">
                          <a:solidFill>
                            <a:schemeClr val="tx2"/>
                          </a:solidFill>
                        </a:rPr>
                        <a:t>Is the gross profit margin comparable to that of the past and margins achieved by the peer group companies or other market data?</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mparison of gross profit margin to historical margins (in cases of fluctuating margins, check for dependencies e.g. economy, scale effects, shift of product mix, etc.) to analysts’ expectations and to peer group companies (Benchmarking – reasonable selection)</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ossibility of passing through price increases on the procurement end</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gross profit per product group and possible shifts of product mix</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dentify, analyze and justify possible deviation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21-23</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684000">
                <a:tc>
                  <a:txBody>
                    <a:bodyPr/>
                    <a:lstStyle/>
                    <a:p>
                      <a:pPr marL="228600" indent="-228600">
                        <a:lnSpc>
                          <a:spcPct val="95000"/>
                        </a:lnSpc>
                        <a:spcBef>
                          <a:spcPts val="0"/>
                        </a:spcBef>
                        <a:spcAft>
                          <a:spcPts val="200"/>
                        </a:spcAft>
                        <a:buClr>
                          <a:schemeClr val="tx2"/>
                        </a:buClr>
                        <a:buFont typeface="+mj-lt"/>
                        <a:buAutoNum type="arabicPeriod" startAt="7"/>
                        <a:tabLst>
                          <a:tab pos="176213" algn="l"/>
                        </a:tabLst>
                      </a:pPr>
                      <a:r>
                        <a:rPr lang="en-US" sz="900" b="1" kern="1200" dirty="0" smtClean="0">
                          <a:solidFill>
                            <a:schemeClr val="tx2"/>
                          </a:solidFill>
                          <a:latin typeface="+mn-lt"/>
                          <a:ea typeface="+mn-ea"/>
                          <a:cs typeface="+mn-cs"/>
                        </a:rPr>
                        <a:t>Does the current trading/LTM or the current forecast support the sales and gross profit planning?</a:t>
                      </a:r>
                    </a:p>
                    <a:p>
                      <a:pPr marL="216000" indent="-216000">
                        <a:lnSpc>
                          <a:spcPct val="95000"/>
                        </a:lnSpc>
                        <a:spcBef>
                          <a:spcPts val="0"/>
                        </a:spcBef>
                        <a:spcAft>
                          <a:spcPts val="200"/>
                        </a:spcAft>
                        <a:buClr>
                          <a:schemeClr val="tx2"/>
                        </a:buClr>
                        <a:tabLst>
                          <a:tab pos="176213" algn="l"/>
                        </a:tabLst>
                      </a:pPr>
                      <a:endParaRPr lang="en-US" sz="900" b="1" kern="120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mparison of current trading (if needed, extrapolation to entire year) or current forecast with sales and gross profit planning</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mn-cs"/>
                        </a:rPr>
                        <a:t>24-25</a:t>
                      </a: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684000">
                <a:tc>
                  <a:txBody>
                    <a:bodyPr/>
                    <a:lstStyle/>
                    <a:p>
                      <a:pPr marL="228600" indent="-228600">
                        <a:lnSpc>
                          <a:spcPct val="95000"/>
                        </a:lnSpc>
                        <a:spcBef>
                          <a:spcPts val="0"/>
                        </a:spcBef>
                        <a:spcAft>
                          <a:spcPts val="200"/>
                        </a:spcAft>
                        <a:buFont typeface="+mj-lt"/>
                        <a:buAutoNum type="arabicPeriod" startAt="8"/>
                        <a:tabLst>
                          <a:tab pos="176213" algn="l"/>
                        </a:tabLst>
                      </a:pPr>
                      <a:r>
                        <a:rPr lang="en-US" sz="900" b="1" kern="1200" dirty="0" smtClean="0">
                          <a:solidFill>
                            <a:schemeClr val="tx2"/>
                          </a:solidFill>
                          <a:latin typeface="+mn-lt"/>
                          <a:ea typeface="+mn-ea"/>
                          <a:cs typeface="+mn-cs"/>
                        </a:rPr>
                        <a:t>Do significant currency risks exist for the sales and gross profit planning?</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percentage of currency transactions on sales or gross profit</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Which exchange rates (current/fixed exchange rate vs. forecasted/ period-specific exchange rates) have been considered?</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re there possible compensating currency opportunities at the level of the gross profit (natural hedge)</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26</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828000">
                <a:tc>
                  <a:txBody>
                    <a:bodyPr/>
                    <a:lstStyle/>
                    <a:p>
                      <a:pPr marL="228600" indent="-228600">
                        <a:lnSpc>
                          <a:spcPct val="95000"/>
                        </a:lnSpc>
                        <a:spcBef>
                          <a:spcPts val="0"/>
                        </a:spcBef>
                        <a:spcAft>
                          <a:spcPts val="200"/>
                        </a:spcAft>
                        <a:buFont typeface="+mj-lt"/>
                        <a:buAutoNum type="arabicPeriod" startAt="9"/>
                        <a:tabLst>
                          <a:tab pos="176213" algn="l"/>
                        </a:tabLst>
                      </a:pPr>
                      <a:r>
                        <a:rPr lang="en-US" sz="900" b="1" kern="1200" dirty="0" smtClean="0">
                          <a:solidFill>
                            <a:schemeClr val="tx2"/>
                          </a:solidFill>
                          <a:latin typeface="+mn-lt"/>
                          <a:ea typeface="+mn-ea"/>
                          <a:cs typeface="+mn-cs"/>
                        </a:rPr>
                        <a:t>In case of a transaction: What impacts do change-of-control (CoC) clauses have on material (long-term) </a:t>
                      </a:r>
                      <a:br>
                        <a:rPr lang="en-US" sz="900" b="1" kern="1200" dirty="0" smtClean="0">
                          <a:solidFill>
                            <a:schemeClr val="tx2"/>
                          </a:solidFill>
                          <a:latin typeface="+mn-lt"/>
                          <a:ea typeface="+mn-ea"/>
                          <a:cs typeface="+mn-cs"/>
                        </a:rPr>
                      </a:br>
                      <a:r>
                        <a:rPr lang="en-US" sz="900" b="1" kern="1200" dirty="0" smtClean="0">
                          <a:solidFill>
                            <a:schemeClr val="tx2"/>
                          </a:solidFill>
                          <a:latin typeface="+mn-lt"/>
                          <a:ea typeface="+mn-ea"/>
                          <a:cs typeface="+mn-cs"/>
                        </a:rPr>
                        <a:t>customer or supplier contract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Examine existence of CoC clauses on the basis of legal DD or information from company</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Estimate the probability of the exercising of CoC clause and the possible impact on planning</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dirty="0" smtClean="0">
                          <a:solidFill>
                            <a:schemeClr val="tx2"/>
                          </a:solidFill>
                        </a:rPr>
                        <a:t>27</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pic>
        <p:nvPicPr>
          <p:cNvPr id="2" name="Grafik 1"/>
          <p:cNvPicPr>
            <a:picLocks/>
          </p:cNvPicPr>
          <p:nvPr/>
        </p:nvPicPr>
        <p:blipFill>
          <a:blip r:embed="rId3"/>
          <a:stretch>
            <a:fillRect/>
          </a:stretch>
        </p:blipFill>
        <p:spPr>
          <a:xfrm>
            <a:off x="866922" y="2356636"/>
            <a:ext cx="340197" cy="405178"/>
          </a:xfrm>
          <a:prstGeom prst="rect">
            <a:avLst/>
          </a:prstGeom>
        </p:spPr>
      </p:pic>
      <p:pic>
        <p:nvPicPr>
          <p:cNvPr id="5" name="Grafik 4"/>
          <p:cNvPicPr>
            <a:picLocks noChangeAspect="1"/>
          </p:cNvPicPr>
          <p:nvPr/>
        </p:nvPicPr>
        <p:blipFill>
          <a:blip r:embed="rId4"/>
          <a:stretch>
            <a:fillRect/>
          </a:stretch>
        </p:blipFill>
        <p:spPr>
          <a:xfrm>
            <a:off x="1155830" y="2356636"/>
            <a:ext cx="340197" cy="405178"/>
          </a:xfrm>
          <a:prstGeom prst="rect">
            <a:avLst/>
          </a:prstGeom>
        </p:spPr>
      </p:pic>
      <p:pic>
        <p:nvPicPr>
          <p:cNvPr id="7" name="Grafik 6"/>
          <p:cNvPicPr>
            <a:picLocks noChangeAspect="1"/>
          </p:cNvPicPr>
          <p:nvPr/>
        </p:nvPicPr>
        <p:blipFill>
          <a:blip r:embed="rId5"/>
          <a:stretch>
            <a:fillRect/>
          </a:stretch>
        </p:blipFill>
        <p:spPr>
          <a:xfrm>
            <a:off x="1444738" y="2356636"/>
            <a:ext cx="340197" cy="405178"/>
          </a:xfrm>
          <a:prstGeom prst="rect">
            <a:avLst/>
          </a:prstGeom>
        </p:spPr>
      </p:pic>
      <p:pic>
        <p:nvPicPr>
          <p:cNvPr id="83" name="Grafik 82"/>
          <p:cNvPicPr>
            <a:picLocks noChangeAspect="1"/>
          </p:cNvPicPr>
          <p:nvPr/>
        </p:nvPicPr>
        <p:blipFill>
          <a:blip r:embed="rId6"/>
          <a:stretch>
            <a:fillRect/>
          </a:stretch>
        </p:blipFill>
        <p:spPr>
          <a:xfrm>
            <a:off x="1733646" y="2356636"/>
            <a:ext cx="340197" cy="405178"/>
          </a:xfrm>
          <a:prstGeom prst="rect">
            <a:avLst/>
          </a:prstGeom>
        </p:spPr>
      </p:pic>
      <p:pic>
        <p:nvPicPr>
          <p:cNvPr id="91" name="Grafik 90"/>
          <p:cNvPicPr>
            <a:picLocks noChangeAspect="1"/>
          </p:cNvPicPr>
          <p:nvPr/>
        </p:nvPicPr>
        <p:blipFill>
          <a:blip r:embed="rId7"/>
          <a:stretch>
            <a:fillRect/>
          </a:stretch>
        </p:blipFill>
        <p:spPr>
          <a:xfrm>
            <a:off x="2022554" y="2356636"/>
            <a:ext cx="340197" cy="405178"/>
          </a:xfrm>
          <a:prstGeom prst="rect">
            <a:avLst/>
          </a:prstGeom>
        </p:spPr>
      </p:pic>
      <p:pic>
        <p:nvPicPr>
          <p:cNvPr id="99" name="Grafik 98"/>
          <p:cNvPicPr>
            <a:picLocks noChangeAspect="1"/>
          </p:cNvPicPr>
          <p:nvPr/>
        </p:nvPicPr>
        <p:blipFill>
          <a:blip r:embed="rId8"/>
          <a:stretch>
            <a:fillRect/>
          </a:stretch>
        </p:blipFill>
        <p:spPr>
          <a:xfrm>
            <a:off x="2311464" y="2356636"/>
            <a:ext cx="340197" cy="405178"/>
          </a:xfrm>
          <a:prstGeom prst="rect">
            <a:avLst/>
          </a:prstGeom>
        </p:spPr>
      </p:pic>
      <p:pic>
        <p:nvPicPr>
          <p:cNvPr id="57" name="Grafik 56"/>
          <p:cNvPicPr>
            <a:picLocks/>
          </p:cNvPicPr>
          <p:nvPr/>
        </p:nvPicPr>
        <p:blipFill>
          <a:blip r:embed="rId9"/>
          <a:stretch>
            <a:fillRect/>
          </a:stretch>
        </p:blipFill>
        <p:spPr>
          <a:xfrm>
            <a:off x="2593735" y="2356636"/>
            <a:ext cx="340197" cy="405178"/>
          </a:xfrm>
          <a:prstGeom prst="rect">
            <a:avLst/>
          </a:prstGeom>
        </p:spPr>
      </p:pic>
      <p:pic>
        <p:nvPicPr>
          <p:cNvPr id="66" name="Grafik 65"/>
          <p:cNvPicPr>
            <a:picLocks noChangeAspect="1"/>
          </p:cNvPicPr>
          <p:nvPr/>
        </p:nvPicPr>
        <p:blipFill>
          <a:blip r:embed="rId5"/>
          <a:stretch>
            <a:fillRect/>
          </a:stretch>
        </p:blipFill>
        <p:spPr>
          <a:xfrm>
            <a:off x="2022554" y="3034938"/>
            <a:ext cx="340197" cy="405178"/>
          </a:xfrm>
          <a:prstGeom prst="rect">
            <a:avLst/>
          </a:prstGeom>
        </p:spPr>
      </p:pic>
      <p:pic>
        <p:nvPicPr>
          <p:cNvPr id="67" name="Grafik 66"/>
          <p:cNvPicPr>
            <a:picLocks noChangeAspect="1"/>
          </p:cNvPicPr>
          <p:nvPr/>
        </p:nvPicPr>
        <p:blipFill>
          <a:blip r:embed="rId6"/>
          <a:stretch>
            <a:fillRect/>
          </a:stretch>
        </p:blipFill>
        <p:spPr>
          <a:xfrm>
            <a:off x="2311464" y="3034938"/>
            <a:ext cx="340197" cy="405178"/>
          </a:xfrm>
          <a:prstGeom prst="rect">
            <a:avLst/>
          </a:prstGeom>
        </p:spPr>
      </p:pic>
      <p:pic>
        <p:nvPicPr>
          <p:cNvPr id="68" name="Grafik 67"/>
          <p:cNvPicPr>
            <a:picLocks/>
          </p:cNvPicPr>
          <p:nvPr/>
        </p:nvPicPr>
        <p:blipFill>
          <a:blip r:embed="rId9"/>
          <a:stretch>
            <a:fillRect/>
          </a:stretch>
        </p:blipFill>
        <p:spPr>
          <a:xfrm>
            <a:off x="2592550" y="3034938"/>
            <a:ext cx="340197" cy="405178"/>
          </a:xfrm>
          <a:prstGeom prst="rect">
            <a:avLst/>
          </a:prstGeom>
        </p:spPr>
      </p:pic>
      <p:pic>
        <p:nvPicPr>
          <p:cNvPr id="69" name="Grafik 68"/>
          <p:cNvPicPr>
            <a:picLocks noChangeAspect="1"/>
          </p:cNvPicPr>
          <p:nvPr/>
        </p:nvPicPr>
        <p:blipFill>
          <a:blip r:embed="rId4"/>
          <a:stretch>
            <a:fillRect/>
          </a:stretch>
        </p:blipFill>
        <p:spPr>
          <a:xfrm>
            <a:off x="2311464" y="4611082"/>
            <a:ext cx="340197" cy="405178"/>
          </a:xfrm>
          <a:prstGeom prst="rect">
            <a:avLst/>
          </a:prstGeom>
        </p:spPr>
      </p:pic>
      <p:pic>
        <p:nvPicPr>
          <p:cNvPr id="71" name="Grafik 70"/>
          <p:cNvPicPr>
            <a:picLocks noChangeAspect="1"/>
          </p:cNvPicPr>
          <p:nvPr/>
        </p:nvPicPr>
        <p:blipFill>
          <a:blip r:embed="rId6"/>
          <a:stretch>
            <a:fillRect/>
          </a:stretch>
        </p:blipFill>
        <p:spPr>
          <a:xfrm>
            <a:off x="2592550" y="4611082"/>
            <a:ext cx="340197" cy="405178"/>
          </a:xfrm>
          <a:prstGeom prst="rect">
            <a:avLst/>
          </a:prstGeom>
        </p:spPr>
      </p:pic>
      <p:pic>
        <p:nvPicPr>
          <p:cNvPr id="31" name="Grafik 30"/>
          <p:cNvPicPr>
            <a:picLocks/>
          </p:cNvPicPr>
          <p:nvPr/>
        </p:nvPicPr>
        <p:blipFill>
          <a:blip r:embed="rId3"/>
          <a:stretch>
            <a:fillRect/>
          </a:stretch>
        </p:blipFill>
        <p:spPr>
          <a:xfrm>
            <a:off x="2022554" y="3720860"/>
            <a:ext cx="340197" cy="405178"/>
          </a:xfrm>
          <a:prstGeom prst="rect">
            <a:avLst/>
          </a:prstGeom>
        </p:spPr>
      </p:pic>
      <p:pic>
        <p:nvPicPr>
          <p:cNvPr id="32" name="Grafik 31"/>
          <p:cNvPicPr>
            <a:picLocks noChangeAspect="1"/>
          </p:cNvPicPr>
          <p:nvPr/>
        </p:nvPicPr>
        <p:blipFill>
          <a:blip r:embed="rId4"/>
          <a:stretch>
            <a:fillRect/>
          </a:stretch>
        </p:blipFill>
        <p:spPr>
          <a:xfrm>
            <a:off x="2311464" y="3720860"/>
            <a:ext cx="340197" cy="405178"/>
          </a:xfrm>
          <a:prstGeom prst="rect">
            <a:avLst/>
          </a:prstGeom>
        </p:spPr>
      </p:pic>
      <p:pic>
        <p:nvPicPr>
          <p:cNvPr id="33" name="Grafik 32"/>
          <p:cNvPicPr>
            <a:picLocks noChangeAspect="1"/>
          </p:cNvPicPr>
          <p:nvPr/>
        </p:nvPicPr>
        <p:blipFill>
          <a:blip r:embed="rId5"/>
          <a:stretch>
            <a:fillRect/>
          </a:stretch>
        </p:blipFill>
        <p:spPr>
          <a:xfrm>
            <a:off x="2592550" y="3720860"/>
            <a:ext cx="340197" cy="405178"/>
          </a:xfrm>
          <a:prstGeom prst="rect">
            <a:avLst/>
          </a:prstGeom>
        </p:spPr>
      </p:pic>
    </p:spTree>
    <p:extLst>
      <p:ext uri="{BB962C8B-B14F-4D97-AF65-F5344CB8AC3E}">
        <p14:creationId xmlns:p14="http://schemas.microsoft.com/office/powerpoint/2010/main" val="27650788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FASFONT" val="Univers55"/>
</p:tagLst>
</file>

<file path=ppt/tags/tag100.xml><?xml version="1.0" encoding="utf-8"?>
<p:tagLst xmlns:a="http://schemas.openxmlformats.org/drawingml/2006/main" xmlns:r="http://schemas.openxmlformats.org/officeDocument/2006/relationships" xmlns:p="http://schemas.openxmlformats.org/presentationml/2006/main">
  <p:tag name="FASFONT" val="Univers55"/>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0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03.xml><?xml version="1.0" encoding="utf-8"?>
<p:tagLst xmlns:a="http://schemas.openxmlformats.org/drawingml/2006/main" xmlns:r="http://schemas.openxmlformats.org/officeDocument/2006/relationships" xmlns:p="http://schemas.openxmlformats.org/presentationml/2006/main">
  <p:tag name="FASFONT" val="Univers55"/>
</p:tagLst>
</file>

<file path=ppt/tags/tag10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0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9"/>
</p:tagLst>
</file>

<file path=ppt/tags/tag10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8"/>
  <p:tag name="WASTB" val="TRUE"/>
</p:tagLst>
</file>

<file path=ppt/tags/tag10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9"/>
  <p:tag name="WASTB" val="TRUE"/>
</p:tagLst>
</file>

<file path=ppt/tags/tag10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8"/>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1.xml><?xml version="1.0" encoding="utf-8"?>
<p:tagLst xmlns:a="http://schemas.openxmlformats.org/drawingml/2006/main" xmlns:r="http://schemas.openxmlformats.org/officeDocument/2006/relationships" xmlns:p="http://schemas.openxmlformats.org/presentationml/2006/main">
  <p:tag name="FASFONT" val="Univers55"/>
</p:tagLst>
</file>

<file path=ppt/tags/tag11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11.xml><?xml version="1.0" encoding="utf-8"?>
<p:tagLst xmlns:a="http://schemas.openxmlformats.org/drawingml/2006/main" xmlns:r="http://schemas.openxmlformats.org/officeDocument/2006/relationships" xmlns:p="http://schemas.openxmlformats.org/presentationml/2006/main">
  <p:tag name="FASFONT" val="Univers55"/>
</p:tagLst>
</file>

<file path=ppt/tags/tag11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34"/>
</p:tagLst>
</file>

<file path=ppt/tags/tag11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34"/>
  <p:tag name="WASTB" val="TRU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1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16.xml><?xml version="1.0" encoding="utf-8"?>
<p:tagLst xmlns:a="http://schemas.openxmlformats.org/drawingml/2006/main" xmlns:r="http://schemas.openxmlformats.org/officeDocument/2006/relationships" xmlns:p="http://schemas.openxmlformats.org/presentationml/2006/main">
  <p:tag name="FASFONT" val="Univers55"/>
</p:tagLst>
</file>

<file path=ppt/tags/tag11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40"/>
</p:tagLst>
</file>

<file path=ppt/tags/tag118.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1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40"/>
  <p:tag name="WASTB" val="TRU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20.xml><?xml version="1.0" encoding="utf-8"?>
<p:tagLst xmlns:a="http://schemas.openxmlformats.org/drawingml/2006/main" xmlns:r="http://schemas.openxmlformats.org/officeDocument/2006/relationships" xmlns:p="http://schemas.openxmlformats.org/presentationml/2006/main">
  <p:tag name="FASFONT" val="Univers55"/>
</p:tagLst>
</file>

<file path=ppt/tags/tag121.xml><?xml version="1.0" encoding="utf-8"?>
<p:tagLst xmlns:a="http://schemas.openxmlformats.org/drawingml/2006/main" xmlns:r="http://schemas.openxmlformats.org/officeDocument/2006/relationships" xmlns:p="http://schemas.openxmlformats.org/presentationml/2006/main">
  <p:tag name="FASFONT" val="Univers55"/>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2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24.xml><?xml version="1.0" encoding="utf-8"?>
<p:tagLst xmlns:a="http://schemas.openxmlformats.org/drawingml/2006/main" xmlns:r="http://schemas.openxmlformats.org/officeDocument/2006/relationships" xmlns:p="http://schemas.openxmlformats.org/presentationml/2006/main">
  <p:tag name="FASFONT" val="Univers55"/>
</p:tagLst>
</file>

<file path=ppt/tags/tag12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0"/>
</p:tagLst>
</file>

<file path=ppt/tags/tag12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154:$G$162"/>
</p:tagLst>
</file>

<file path=ppt/tags/tag12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0"/>
  <p:tag name="WASTB" val="TRUE"/>
</p:tagLst>
</file>

<file path=ppt/tags/tag12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154:$G$162"/>
  <p:tag name="WASTB" val="TRU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3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3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5"/>
</p:tagLst>
</file>

<file path=ppt/tags/tag13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43:$G$60"/>
</p:tagLst>
</file>

<file path=ppt/tags/tag13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5"/>
  <p:tag name="WASTB" val="TRUE"/>
</p:tagLst>
</file>

<file path=ppt/tags/tag13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43:$G$60"/>
  <p:tag name="WASTB" val="TRU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3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3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3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3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1_Currency!11_Currency Diagramm 3"/>
</p:tagLst>
</file>

<file path=ppt/tags/tag1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8"/>
</p:tagLst>
</file>

<file path=ppt/tags/tag14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1_Currency!11_Currency Diagramm 4"/>
</p:tagLst>
</file>

<file path=ppt/tags/tag14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1_Currency!11_Currency Diagramm 5"/>
</p:tagLst>
</file>

<file path=ppt/tags/tag14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1_Currency!11_Currency Diagramm 3"/>
  <p:tag name="WASTB" val="TRUE"/>
</p:tagLst>
</file>

<file path=ppt/tags/tag14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1_Currency!11_Currency Diagramm 4"/>
  <p:tag name="WASTB" val="TRUE"/>
</p:tagLst>
</file>

<file path=ppt/tags/tag14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1_Currency!11_Currency Diagramm 5"/>
  <p:tag name="WASTB" val="TRU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4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4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41"/>
</p:tagLst>
</file>

<file path=ppt/tags/tag148.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4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41"/>
  <p:tag name="WASTB" val="TRUE"/>
</p:tagLst>
</file>

<file path=ppt/tags/tag1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50.xml><?xml version="1.0" encoding="utf-8"?>
<p:tagLst xmlns:a="http://schemas.openxmlformats.org/drawingml/2006/main" xmlns:r="http://schemas.openxmlformats.org/officeDocument/2006/relationships" xmlns:p="http://schemas.openxmlformats.org/presentationml/2006/main">
  <p:tag name="FASFONT" val="Univers55"/>
</p:tagLst>
</file>

<file path=ppt/tags/tag151.xml><?xml version="1.0" encoding="utf-8"?>
<p:tagLst xmlns:a="http://schemas.openxmlformats.org/drawingml/2006/main" xmlns:r="http://schemas.openxmlformats.org/officeDocument/2006/relationships" xmlns:p="http://schemas.openxmlformats.org/presentationml/2006/main">
  <p:tag name="FASFONT" val="Univers55"/>
</p:tagLst>
</file>

<file path=ppt/tags/tag152.xml><?xml version="1.0" encoding="utf-8"?>
<p:tagLst xmlns:a="http://schemas.openxmlformats.org/drawingml/2006/main" xmlns:r="http://schemas.openxmlformats.org/officeDocument/2006/relationships" xmlns:p="http://schemas.openxmlformats.org/presentationml/2006/main">
  <p:tag name="COPYRIGHT1" val="TRUE"/>
</p:tagLst>
</file>

<file path=ppt/tags/tag1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99_Others!99_Others Diagramm 1"/>
</p:tagLst>
</file>

<file path=ppt/tags/tag1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8"/>
  <p:tag name="WASTB" val="TRUE"/>
</p:tagLst>
</file>

<file path=ppt/tags/tag1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99_Others!99_Others Diagramm 1"/>
  <p:tag name="WASTB" val="TRU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1.xml><?xml version="1.0" encoding="utf-8"?>
<p:tagLst xmlns:a="http://schemas.openxmlformats.org/drawingml/2006/main" xmlns:r="http://schemas.openxmlformats.org/officeDocument/2006/relationships" xmlns:p="http://schemas.openxmlformats.org/presentationml/2006/main">
  <p:tag name="FASFONT" val="Univers55"/>
</p:tagLst>
</file>

<file path=ppt/tags/tag2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7"/>
</p:tagLst>
</file>

<file path=ppt/tags/tag2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5"/>
  <p:tag name="WASTB" val="TRUE"/>
</p:tagLst>
</file>

<file path=ppt/tags/tag2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7"/>
  <p:tag name="WASTB" val="TRUE"/>
</p:tagLst>
</file>

<file path=ppt/tags/tag2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5"/>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9"/>
</p:tagLst>
</file>

<file path=ppt/tags/tag31.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3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24"/>
</p:tagLst>
</file>

<file path=ppt/tags/tag3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9"/>
  <p:tag name="WASTB" val="TRUE"/>
</p:tagLst>
</file>

<file path=ppt/tags/tag3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24"/>
  <p:tag name="WASTB" val="TRUE"/>
</p:tagLst>
</file>

<file path=ppt/tags/tag35.xml><?xml version="1.0" encoding="utf-8"?>
<p:tagLst xmlns:a="http://schemas.openxmlformats.org/drawingml/2006/main" xmlns:r="http://schemas.openxmlformats.org/officeDocument/2006/relationships" xmlns:p="http://schemas.openxmlformats.org/presentationml/2006/main">
  <p:tag name="FASFONT" val="Univers55"/>
</p:tagLst>
</file>

<file path=ppt/tags/tag36.xml><?xml version="1.0" encoding="utf-8"?>
<p:tagLst xmlns:a="http://schemas.openxmlformats.org/drawingml/2006/main" xmlns:r="http://schemas.openxmlformats.org/officeDocument/2006/relationships" xmlns:p="http://schemas.openxmlformats.org/presentationml/2006/main">
  <p:tag name="FASFONT" val="Univers55"/>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3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0.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4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25"/>
</p:tagLst>
</file>

<file path=ppt/tags/tag4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25"/>
  <p:tag name="WASTB" val="TRUE"/>
</p:tagLst>
</file>

<file path=ppt/tags/tag4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30"/>
  <p:tag name="WASTB" val="TRUE"/>
</p:tagLst>
</file>

<file path=ppt/tags/tag4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30"/>
</p:tagLst>
</file>

<file path=ppt/tags/tag45.xml><?xml version="1.0" encoding="utf-8"?>
<p:tagLst xmlns:a="http://schemas.openxmlformats.org/drawingml/2006/main" xmlns:r="http://schemas.openxmlformats.org/officeDocument/2006/relationships" xmlns:p="http://schemas.openxmlformats.org/presentationml/2006/main">
  <p:tag name="FASFONT" val="Univers55"/>
</p:tagLst>
</file>

<file path=ppt/tags/tag46.xml><?xml version="1.0" encoding="utf-8"?>
<p:tagLst xmlns:a="http://schemas.openxmlformats.org/drawingml/2006/main" xmlns:r="http://schemas.openxmlformats.org/officeDocument/2006/relationships" xmlns:p="http://schemas.openxmlformats.org/presentationml/2006/main">
  <p:tag name="FASFONT" val="Univers55"/>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6"/>
</p:tagLst>
</file>

<file path=ppt/tags/tag50.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5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29"/>
</p:tagLst>
</file>

<file path=ppt/tags/tag5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26"/>
</p:tagLst>
</file>

<file path=ppt/tags/tag5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29"/>
  <p:tag name="WASTB" val="TRUE"/>
</p:tagLst>
</file>

<file path=ppt/tags/tag5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26"/>
  <p:tag name="WASTB" val="TRUE"/>
</p:tagLst>
</file>

<file path=ppt/tags/tag55.xml><?xml version="1.0" encoding="utf-8"?>
<p:tagLst xmlns:a="http://schemas.openxmlformats.org/drawingml/2006/main" xmlns:r="http://schemas.openxmlformats.org/officeDocument/2006/relationships" xmlns:p="http://schemas.openxmlformats.org/presentationml/2006/main">
  <p:tag name="FASFONT" val="Univers55"/>
</p:tagLst>
</file>

<file path=ppt/tags/tag56.xml><?xml version="1.0" encoding="utf-8"?>
<p:tagLst xmlns:a="http://schemas.openxmlformats.org/drawingml/2006/main" xmlns:r="http://schemas.openxmlformats.org/officeDocument/2006/relationships" xmlns:p="http://schemas.openxmlformats.org/presentationml/2006/main">
  <p:tag name="FASFONT" val="Univers55"/>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5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23"/>
</p:tagLst>
</file>

<file path=ppt/tags/tag60.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6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28"/>
</p:tagLst>
</file>

<file path=ppt/tags/tag6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0"/>
</p:tagLst>
</file>

<file path=ppt/tags/tag6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28"/>
  <p:tag name="WASTB" val="TRUE"/>
</p:tagLst>
</file>

<file path=ppt/tags/tag6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0"/>
  <p:tag name="WASTB" val="TRUE"/>
</p:tagLst>
</file>

<file path=ppt/tags/tag65.xml><?xml version="1.0" encoding="utf-8"?>
<p:tagLst xmlns:a="http://schemas.openxmlformats.org/drawingml/2006/main" xmlns:r="http://schemas.openxmlformats.org/officeDocument/2006/relationships" xmlns:p="http://schemas.openxmlformats.org/presentationml/2006/main">
  <p:tag name="FASFONT" val="Univers55"/>
</p:tagLst>
</file>

<file path=ppt/tags/tag66.xml><?xml version="1.0" encoding="utf-8"?>
<p:tagLst xmlns:a="http://schemas.openxmlformats.org/drawingml/2006/main" xmlns:r="http://schemas.openxmlformats.org/officeDocument/2006/relationships" xmlns:p="http://schemas.openxmlformats.org/presentationml/2006/main">
  <p:tag name="FASFONT" val="Univers55"/>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6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6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xml><?xml version="1.0" encoding="utf-8"?>
<p:tagLst xmlns:a="http://schemas.openxmlformats.org/drawingml/2006/main" xmlns:r="http://schemas.openxmlformats.org/officeDocument/2006/relationships" xmlns:p="http://schemas.openxmlformats.org/presentationml/2006/main">
  <p:tag name="FASFONT" val="Univers55"/>
</p:tagLst>
</file>

<file path=ppt/tags/tag7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4"/>
</p:tagLst>
</file>

<file path=ppt/tags/tag7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5"/>
</p:tagLst>
</file>

<file path=ppt/tags/tag7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4"/>
  <p:tag name="WASTB" val="TRUE"/>
</p:tagLst>
</file>

<file path=ppt/tags/tag7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5"/>
  <p:tag name="WASTB" val="TRU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7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6.xml><?xml version="1.0" encoding="utf-8"?>
<p:tagLst xmlns:a="http://schemas.openxmlformats.org/drawingml/2006/main" xmlns:r="http://schemas.openxmlformats.org/officeDocument/2006/relationships" xmlns:p="http://schemas.openxmlformats.org/presentationml/2006/main">
  <p:tag name="FASFONT" val="Univers55"/>
</p:tagLst>
</file>

<file path=ppt/tags/tag7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6"/>
</p:tagLst>
</file>

<file path=ppt/tags/tag7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 tables!$A$26:$G$33"/>
</p:tagLst>
</file>

<file path=ppt/tags/tag7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6"/>
  <p:tag name="WASTB" val="TRUE"/>
</p:tagLst>
</file>

<file path=ppt/tags/tag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6"/>
  <p:tag name="WASTB" val="TRUE"/>
</p:tagLst>
</file>

<file path=ppt/tags/tag8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 tables!$A$26:$G$33"/>
  <p:tag name="WASTB" val="TRU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8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3.xml><?xml version="1.0" encoding="utf-8"?>
<p:tagLst xmlns:a="http://schemas.openxmlformats.org/drawingml/2006/main" xmlns:r="http://schemas.openxmlformats.org/officeDocument/2006/relationships" xmlns:p="http://schemas.openxmlformats.org/presentationml/2006/main">
  <p:tag name="FASFONT" val="Univers55"/>
</p:tagLst>
</file>

<file path=ppt/tags/tag8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 tables!$A$54:$G$66"/>
</p:tagLst>
</file>

<file path=ppt/tags/tag8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7"/>
  <p:tag name="WASTB" val="TRUE"/>
</p:tagLst>
</file>

<file path=ppt/tags/tag8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 tables!$A$54:$G$66"/>
  <p:tag name="WASTB" val="TRUE"/>
</p:tagLst>
</file>

<file path=ppt/tags/tag8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7"/>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8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23"/>
  <p:tag name="WASTB" val="TRUE"/>
</p:tagLst>
</file>

<file path=ppt/tags/tag90.xml><?xml version="1.0" encoding="utf-8"?>
<p:tagLst xmlns:a="http://schemas.openxmlformats.org/drawingml/2006/main" xmlns:r="http://schemas.openxmlformats.org/officeDocument/2006/relationships" xmlns:p="http://schemas.openxmlformats.org/presentationml/2006/main">
  <p:tag name="FASFONT" val="Univers55"/>
</p:tagLst>
</file>

<file path=ppt/tags/tag9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8"/>
</p:tagLst>
</file>

<file path=ppt/tags/tag9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8"/>
  <p:tag name="WASTB" val="TRU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9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95.xml><?xml version="1.0" encoding="utf-8"?>
<p:tagLst xmlns:a="http://schemas.openxmlformats.org/drawingml/2006/main" xmlns:r="http://schemas.openxmlformats.org/officeDocument/2006/relationships" xmlns:p="http://schemas.openxmlformats.org/presentationml/2006/main">
  <p:tag name="FASFONT" val="Univers55"/>
</p:tagLst>
</file>

<file path=ppt/tags/tag9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9"/>
</p:tagLst>
</file>

<file path=ppt/tags/tag97.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9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10_Sales &amp; GP!10_Sales &amp; GP Diagramm 39"/>
  <p:tag name="WASTB" val="TRUE"/>
</p:tagLst>
</file>

<file path=ppt/tags/tag99.xml><?xml version="1.0" encoding="utf-8"?>
<p:tagLst xmlns:a="http://schemas.openxmlformats.org/drawingml/2006/main" xmlns:r="http://schemas.openxmlformats.org/officeDocument/2006/relationships" xmlns:p="http://schemas.openxmlformats.org/presentationml/2006/main">
  <p:tag name="FASFONT" val="Univers55"/>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92089B-0307-42BD-A39D-8CA9BAC09754}">
  <ds:schemaRefs>
    <ds:schemaRef ds:uri="http://schemas.microsoft.com/office/2006/metadata/properties"/>
    <ds:schemaRef ds:uri="http://schemas.microsoft.com/sharepoint/v3"/>
  </ds:schemaRefs>
</ds:datastoreItem>
</file>

<file path=customXml/itemProps2.xml><?xml version="1.0" encoding="utf-8"?>
<ds:datastoreItem xmlns:ds="http://schemas.openxmlformats.org/officeDocument/2006/customXml" ds:itemID="{E20120F4-8B4C-4B06-9921-E80DD7180C6A}">
  <ds:schemaRefs>
    <ds:schemaRef ds:uri="http://schemas.microsoft.com/sharepoint/v3/contenttype/forms"/>
  </ds:schemaRefs>
</ds:datastoreItem>
</file>

<file path=customXml/itemProps3.xml><?xml version="1.0" encoding="utf-8"?>
<ds:datastoreItem xmlns:ds="http://schemas.openxmlformats.org/officeDocument/2006/customXml" ds:itemID="{AA7B5EDE-9A99-421A-BEAC-4BE314AECA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5653</Words>
  <Application>Microsoft Office PowerPoint</Application>
  <PresentationFormat>A4-Papier (210x297 mm)</PresentationFormat>
  <Paragraphs>466</Paragraphs>
  <Slides>28</Slides>
  <Notes>28</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8</vt:i4>
      </vt:variant>
    </vt:vector>
  </HeadingPairs>
  <TitlesOfParts>
    <vt:vector size="36" baseType="lpstr">
      <vt:lpstr>Arial</vt:lpstr>
      <vt:lpstr>Calibri</vt:lpstr>
      <vt:lpstr>KPMG Extralight</vt:lpstr>
      <vt:lpstr>KPMG Light</vt:lpstr>
      <vt:lpstr>Univers for KPMG Light</vt:lpstr>
      <vt:lpstr>Wingdings</vt:lpstr>
      <vt:lpstr>KPMG_Report_4x3_050216_2016</vt:lpstr>
      <vt:lpstr>Arbeitsblatt</vt:lpstr>
      <vt:lpstr>Workbook Sales &amp; Gross Profit (Planning)</vt:lpstr>
      <vt:lpstr>Disclaimer</vt:lpstr>
      <vt:lpstr>Overview (1/7) – Mission statement</vt:lpstr>
      <vt:lpstr>Overview (2/7) – Analysis puzzle</vt:lpstr>
      <vt:lpstr>Overview (3/7) – Analysis tree</vt:lpstr>
      <vt:lpstr>Overview (4/7) – Pitfalls</vt:lpstr>
      <vt:lpstr>Overview (5/7) – Pitfalls</vt:lpstr>
      <vt:lpstr>Overview (6/7) – Core issues</vt:lpstr>
      <vt:lpstr>Overview (7/7) – Core issues</vt:lpstr>
      <vt:lpstr>1. Is the sales planning consistent with market expectations? (1/2)</vt:lpstr>
      <vt:lpstr>1. Is the sales planning consistent with market expectations? (2/2)</vt:lpstr>
      <vt:lpstr>2. Which products/product groups/regions/segments have the greatest importance for sales/gross profit over time? (1/2)</vt:lpstr>
      <vt:lpstr>2. Which products/product groups/regions/segments have the greatest importance for sales/gross profit over time? (2/2)</vt:lpstr>
      <vt:lpstr>2. Which products/product groups/regions/segments have the greatest importance for sales/gross profit over time? (1/3) (Alternative)</vt:lpstr>
      <vt:lpstr>2. Which products/product groups/regions/segments have the greatest importance for sales/gross profit over time? (2/3) (Alternative)</vt:lpstr>
      <vt:lpstr>2. Which products/product groups/regions/segments have the greatest importance for sales/gross profit over time? (3/3) (Alternative)</vt:lpstr>
      <vt:lpstr>3. What issues have a material impact on the planned development of sales and gross profit? (1/2)</vt:lpstr>
      <vt:lpstr>3. What issues have a material impact on the planned development of sales and gross profit? (2/2)</vt:lpstr>
      <vt:lpstr>4. Does the current order backlog support the expected sales?</vt:lpstr>
      <vt:lpstr>5. Can the sales planning be achieved with the planned capacity?</vt:lpstr>
      <vt:lpstr>6. Is the gross profit margin comparable to that of the past and margins achieved by the peer group companies or other market data? (1/3)</vt:lpstr>
      <vt:lpstr>6. Is the gross profit margin comparable to that of the past and margins achieved by the peer group companies or other market data? (2/3)</vt:lpstr>
      <vt:lpstr>6. Is the gross profit margin comparable to that of the past and margins achieved by the peer group companies or other market data? (3/3)</vt:lpstr>
      <vt:lpstr>7. Does the current trading/LTM or the current forecast support the sales and gross profit planning? (1/2)</vt:lpstr>
      <vt:lpstr>7. Does the current trading/LTM or the current forecast support the sales and gross profit planning? (2/2)</vt:lpstr>
      <vt:lpstr>8. Do material currency risks exist for the sales and gross profit planning?</vt:lpstr>
      <vt:lpstr>9. In case of a transaction: What impacts do change-of-control (CoC) clauses have on material (long-term) customer or supplier contracts?</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417</cp:revision>
  <dcterms:created xsi:type="dcterms:W3CDTF">2016-06-20T11:42:26Z</dcterms:created>
  <dcterms:modified xsi:type="dcterms:W3CDTF">2017-04-21T11:54:05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